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61" r:id="rId4"/>
    <p:sldMasterId id="2147484134" r:id="rId5"/>
    <p:sldMasterId id="2147484183" r:id="rId6"/>
    <p:sldMasterId id="2147484244" r:id="rId7"/>
    <p:sldMasterId id="2147484251" r:id="rId8"/>
    <p:sldMasterId id="2147484296" r:id="rId9"/>
    <p:sldMasterId id="2147484308" r:id="rId10"/>
  </p:sldMasterIdLst>
  <p:notesMasterIdLst>
    <p:notesMasterId r:id="rId33"/>
  </p:notesMasterIdLst>
  <p:handoutMasterIdLst>
    <p:handoutMasterId r:id="rId34"/>
  </p:handoutMasterIdLst>
  <p:sldIdLst>
    <p:sldId id="444" r:id="rId11"/>
    <p:sldId id="2147480016" r:id="rId12"/>
    <p:sldId id="269" r:id="rId13"/>
    <p:sldId id="2147480024" r:id="rId14"/>
    <p:sldId id="290" r:id="rId15"/>
    <p:sldId id="283" r:id="rId16"/>
    <p:sldId id="287" r:id="rId17"/>
    <p:sldId id="289" r:id="rId18"/>
    <p:sldId id="297" r:id="rId19"/>
    <p:sldId id="463" r:id="rId20"/>
    <p:sldId id="281" r:id="rId21"/>
    <p:sldId id="282" r:id="rId22"/>
    <p:sldId id="2147480019" r:id="rId23"/>
    <p:sldId id="273" r:id="rId24"/>
    <p:sldId id="284" r:id="rId25"/>
    <p:sldId id="285" r:id="rId26"/>
    <p:sldId id="286" r:id="rId27"/>
    <p:sldId id="2147480020" r:id="rId28"/>
    <p:sldId id="2147480025" r:id="rId29"/>
    <p:sldId id="464" r:id="rId30"/>
    <p:sldId id="2147480022" r:id="rId31"/>
    <p:sldId id="461" r:id="rId32"/>
  </p:sldIdLst>
  <p:sldSz cx="9144000" cy="5143500" type="screen16x9"/>
  <p:notesSz cx="10234613" cy="710406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8" userDrawn="1">
          <p15:clr>
            <a:srgbClr val="A4A3A4"/>
          </p15:clr>
        </p15:guide>
        <p15:guide id="2" pos="1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8" userDrawn="1">
          <p15:clr>
            <a:srgbClr val="A4A3A4"/>
          </p15:clr>
        </p15:guide>
        <p15:guide id="2" pos="32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CF"/>
    <a:srgbClr val="214B71"/>
    <a:srgbClr val="64819C"/>
    <a:srgbClr val="D3DF5C"/>
    <a:srgbClr val="00857D"/>
    <a:srgbClr val="003594"/>
    <a:srgbClr val="AC145A"/>
    <a:srgbClr val="A4123F"/>
    <a:srgbClr val="DA291C"/>
    <a:srgbClr val="AB23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24CBFF-7282-4031-8131-B12EBADB59FE}" v="8" dt="2025-06-06T23:13:48.147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1" autoAdjust="0"/>
    <p:restoredTop sz="91273" autoAdjust="0"/>
  </p:normalViewPr>
  <p:slideViewPr>
    <p:cSldViewPr>
      <p:cViewPr>
        <p:scale>
          <a:sx n="100" d="100"/>
          <a:sy n="100" d="100"/>
        </p:scale>
        <p:origin x="732" y="327"/>
      </p:cViewPr>
      <p:guideLst>
        <p:guide orient="horz" pos="758"/>
        <p:guide pos="11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>
      <p:cViewPr varScale="1">
        <p:scale>
          <a:sx n="107" d="100"/>
          <a:sy n="107" d="100"/>
        </p:scale>
        <p:origin x="1608" y="90"/>
      </p:cViewPr>
      <p:guideLst>
        <p:guide orient="horz" pos="2238"/>
        <p:guide pos="3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microsoft.com/office/2016/11/relationships/changesInfo" Target="changesInfos/changesInfo1.xml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en Nguyen" userId="292a1df99840d536" providerId="LiveId" clId="{F9C64105-2257-43E0-8257-731C2E3411DF}"/>
    <pc:docChg chg="undo custSel modSld">
      <pc:chgData name="Damien Nguyen" userId="292a1df99840d536" providerId="LiveId" clId="{F9C64105-2257-43E0-8257-731C2E3411DF}" dt="2024-01-08T16:29:23.913" v="25"/>
      <pc:docMkLst>
        <pc:docMk/>
      </pc:docMkLst>
      <pc:sldChg chg="modSp mod">
        <pc:chgData name="Damien Nguyen" userId="292a1df99840d536" providerId="LiveId" clId="{F9C64105-2257-43E0-8257-731C2E3411DF}" dt="2024-01-08T16:29:23.913" v="25"/>
        <pc:sldMkLst>
          <pc:docMk/>
          <pc:sldMk cId="2920212302" sldId="444"/>
        </pc:sldMkLst>
      </pc:sldChg>
    </pc:docChg>
  </pc:docChgLst>
  <pc:docChgLst>
    <pc:chgData name="Xuanchinguyen Damien" userId="86c02b25-a6b0-4c42-a33f-49f52774530f" providerId="ADAL" clId="{F495D41F-C77A-44DE-B505-70A92170D303}"/>
    <pc:docChg chg="custSel addSld delSld modSld sldOrd">
      <pc:chgData name="Xuanchinguyen Damien" userId="86c02b25-a6b0-4c42-a33f-49f52774530f" providerId="ADAL" clId="{F495D41F-C77A-44DE-B505-70A92170D303}" dt="2025-06-05T08:53:02.894" v="169" actId="47"/>
      <pc:docMkLst>
        <pc:docMk/>
      </pc:docMkLst>
      <pc:sldChg chg="ord">
        <pc:chgData name="Xuanchinguyen Damien" userId="86c02b25-a6b0-4c42-a33f-49f52774530f" providerId="ADAL" clId="{F495D41F-C77A-44DE-B505-70A92170D303}" dt="2025-06-05T08:49:33.403" v="13"/>
        <pc:sldMkLst>
          <pc:docMk/>
          <pc:sldMk cId="2826664291" sldId="290"/>
        </pc:sldMkLst>
      </pc:sldChg>
      <pc:sldChg chg="modSp mod">
        <pc:chgData name="Xuanchinguyen Damien" userId="86c02b25-a6b0-4c42-a33f-49f52774530f" providerId="ADAL" clId="{F495D41F-C77A-44DE-B505-70A92170D303}" dt="2025-06-05T08:51:51.809" v="125" actId="20577"/>
        <pc:sldMkLst>
          <pc:docMk/>
          <pc:sldMk cId="4125993798" sldId="294"/>
        </pc:sldMkLst>
        <pc:spChg chg="mod">
          <ac:chgData name="Xuanchinguyen Damien" userId="86c02b25-a6b0-4c42-a33f-49f52774530f" providerId="ADAL" clId="{F495D41F-C77A-44DE-B505-70A92170D303}" dt="2025-06-05T08:51:51.809" v="125" actId="20577"/>
          <ac:spMkLst>
            <pc:docMk/>
            <pc:sldMk cId="4125993798" sldId="294"/>
            <ac:spMk id="2" creationId="{6F5236F1-2C31-AEC7-55FC-2E222024A74E}"/>
          </ac:spMkLst>
        </pc:spChg>
      </pc:sldChg>
      <pc:sldChg chg="ord">
        <pc:chgData name="Xuanchinguyen Damien" userId="86c02b25-a6b0-4c42-a33f-49f52774530f" providerId="ADAL" clId="{F495D41F-C77A-44DE-B505-70A92170D303}" dt="2025-06-05T08:49:49.086" v="15"/>
        <pc:sldMkLst>
          <pc:docMk/>
          <pc:sldMk cId="2714467725" sldId="296"/>
        </pc:sldMkLst>
      </pc:sldChg>
      <pc:sldChg chg="addSp delSp modSp del mod">
        <pc:chgData name="Xuanchinguyen Damien" userId="86c02b25-a6b0-4c42-a33f-49f52774530f" providerId="ADAL" clId="{F495D41F-C77A-44DE-B505-70A92170D303}" dt="2025-06-05T08:53:02.894" v="169" actId="47"/>
        <pc:sldMkLst>
          <pc:docMk/>
          <pc:sldMk cId="1125749082" sldId="298"/>
        </pc:sldMkLst>
        <pc:spChg chg="mod">
          <ac:chgData name="Xuanchinguyen Damien" userId="86c02b25-a6b0-4c42-a33f-49f52774530f" providerId="ADAL" clId="{F495D41F-C77A-44DE-B505-70A92170D303}" dt="2025-06-05T08:48:59.551" v="3" actId="20577"/>
          <ac:spMkLst>
            <pc:docMk/>
            <pc:sldMk cId="1125749082" sldId="298"/>
            <ac:spMk id="2" creationId="{EAFFB92C-669C-1927-431A-258D3EF0EACC}"/>
          </ac:spMkLst>
        </pc:spChg>
        <pc:spChg chg="del">
          <ac:chgData name="Xuanchinguyen Damien" userId="86c02b25-a6b0-4c42-a33f-49f52774530f" providerId="ADAL" clId="{F495D41F-C77A-44DE-B505-70A92170D303}" dt="2025-06-05T08:49:02.736" v="4" actId="478"/>
          <ac:spMkLst>
            <pc:docMk/>
            <pc:sldMk cId="1125749082" sldId="298"/>
            <ac:spMk id="4" creationId="{499A0B74-CF00-5BCA-B7AE-B9724ED49802}"/>
          </ac:spMkLst>
        </pc:spChg>
        <pc:spChg chg="del">
          <ac:chgData name="Xuanchinguyen Damien" userId="86c02b25-a6b0-4c42-a33f-49f52774530f" providerId="ADAL" clId="{F495D41F-C77A-44DE-B505-70A92170D303}" dt="2025-06-05T08:49:11.301" v="6" actId="478"/>
          <ac:spMkLst>
            <pc:docMk/>
            <pc:sldMk cId="1125749082" sldId="298"/>
            <ac:spMk id="5" creationId="{F9DD71E3-83D3-69AC-5E89-A87EDAC2215B}"/>
          </ac:spMkLst>
        </pc:spChg>
        <pc:spChg chg="add mod">
          <ac:chgData name="Xuanchinguyen Damien" userId="86c02b25-a6b0-4c42-a33f-49f52774530f" providerId="ADAL" clId="{F495D41F-C77A-44DE-B505-70A92170D303}" dt="2025-06-05T08:49:02.736" v="4" actId="478"/>
          <ac:spMkLst>
            <pc:docMk/>
            <pc:sldMk cId="1125749082" sldId="298"/>
            <ac:spMk id="7" creationId="{57B6904E-5349-614A-FCBF-76FEC9E35044}"/>
          </ac:spMkLst>
        </pc:spChg>
        <pc:picChg chg="del">
          <ac:chgData name="Xuanchinguyen Damien" userId="86c02b25-a6b0-4c42-a33f-49f52774530f" providerId="ADAL" clId="{F495D41F-C77A-44DE-B505-70A92170D303}" dt="2025-06-05T08:49:07.026" v="5" actId="478"/>
          <ac:picMkLst>
            <pc:docMk/>
            <pc:sldMk cId="1125749082" sldId="298"/>
            <ac:picMk id="3" creationId="{424353DA-1CD1-5837-6200-DEE1F93A6449}"/>
          </ac:picMkLst>
        </pc:picChg>
      </pc:sldChg>
      <pc:sldChg chg="addSp delSp modSp new mod modClrScheme chgLayout">
        <pc:chgData name="Xuanchinguyen Damien" userId="86c02b25-a6b0-4c42-a33f-49f52774530f" providerId="ADAL" clId="{F495D41F-C77A-44DE-B505-70A92170D303}" dt="2025-06-05T08:50:21.959" v="41" actId="20577"/>
        <pc:sldMkLst>
          <pc:docMk/>
          <pc:sldMk cId="3503787461" sldId="462"/>
        </pc:sldMkLst>
        <pc:spChg chg="mod ord">
          <ac:chgData name="Xuanchinguyen Damien" userId="86c02b25-a6b0-4c42-a33f-49f52774530f" providerId="ADAL" clId="{F495D41F-C77A-44DE-B505-70A92170D303}" dt="2025-06-05T08:50:11.292" v="18" actId="700"/>
          <ac:spMkLst>
            <pc:docMk/>
            <pc:sldMk cId="3503787461" sldId="462"/>
            <ac:spMk id="2" creationId="{64562492-7512-CF25-A71A-D8760687C38E}"/>
          </ac:spMkLst>
        </pc:spChg>
        <pc:spChg chg="del">
          <ac:chgData name="Xuanchinguyen Damien" userId="86c02b25-a6b0-4c42-a33f-49f52774530f" providerId="ADAL" clId="{F495D41F-C77A-44DE-B505-70A92170D303}" dt="2025-06-05T08:50:11.292" v="18" actId="700"/>
          <ac:spMkLst>
            <pc:docMk/>
            <pc:sldMk cId="3503787461" sldId="462"/>
            <ac:spMk id="3" creationId="{42B09EDE-EA0D-D452-D727-E36EC8B05E0B}"/>
          </ac:spMkLst>
        </pc:spChg>
        <pc:spChg chg="del mod ord">
          <ac:chgData name="Xuanchinguyen Damien" userId="86c02b25-a6b0-4c42-a33f-49f52774530f" providerId="ADAL" clId="{F495D41F-C77A-44DE-B505-70A92170D303}" dt="2025-06-05T08:50:11.292" v="18" actId="700"/>
          <ac:spMkLst>
            <pc:docMk/>
            <pc:sldMk cId="3503787461" sldId="462"/>
            <ac:spMk id="4" creationId="{D4E1D111-2D98-A142-7E3D-1CC215213413}"/>
          </ac:spMkLst>
        </pc:spChg>
        <pc:spChg chg="del mod ord">
          <ac:chgData name="Xuanchinguyen Damien" userId="86c02b25-a6b0-4c42-a33f-49f52774530f" providerId="ADAL" clId="{F495D41F-C77A-44DE-B505-70A92170D303}" dt="2025-06-05T08:50:11.292" v="18" actId="700"/>
          <ac:spMkLst>
            <pc:docMk/>
            <pc:sldMk cId="3503787461" sldId="462"/>
            <ac:spMk id="5" creationId="{B9D97BDA-1A38-8C0F-3662-03E1ED4FAAC8}"/>
          </ac:spMkLst>
        </pc:spChg>
        <pc:spChg chg="add mod ord">
          <ac:chgData name="Xuanchinguyen Damien" userId="86c02b25-a6b0-4c42-a33f-49f52774530f" providerId="ADAL" clId="{F495D41F-C77A-44DE-B505-70A92170D303}" dt="2025-06-05T08:50:21.959" v="41" actId="20577"/>
          <ac:spMkLst>
            <pc:docMk/>
            <pc:sldMk cId="3503787461" sldId="462"/>
            <ac:spMk id="6" creationId="{A41677AA-EFE3-8962-A20B-FD8FBBE23D92}"/>
          </ac:spMkLst>
        </pc:spChg>
        <pc:spChg chg="add mod ord">
          <ac:chgData name="Xuanchinguyen Damien" userId="86c02b25-a6b0-4c42-a33f-49f52774530f" providerId="ADAL" clId="{F495D41F-C77A-44DE-B505-70A92170D303}" dt="2025-06-05T08:50:11.292" v="18" actId="700"/>
          <ac:spMkLst>
            <pc:docMk/>
            <pc:sldMk cId="3503787461" sldId="462"/>
            <ac:spMk id="7" creationId="{5CB776FA-E169-75F6-8847-7F9D9D948024}"/>
          </ac:spMkLst>
        </pc:spChg>
      </pc:sldChg>
      <pc:sldChg chg="modSp add mod">
        <pc:chgData name="Xuanchinguyen Damien" userId="86c02b25-a6b0-4c42-a33f-49f52774530f" providerId="ADAL" clId="{F495D41F-C77A-44DE-B505-70A92170D303}" dt="2025-06-05T08:50:42.390" v="44" actId="20577"/>
        <pc:sldMkLst>
          <pc:docMk/>
          <pc:sldMk cId="3792469409" sldId="463"/>
        </pc:sldMkLst>
        <pc:spChg chg="mod">
          <ac:chgData name="Xuanchinguyen Damien" userId="86c02b25-a6b0-4c42-a33f-49f52774530f" providerId="ADAL" clId="{F495D41F-C77A-44DE-B505-70A92170D303}" dt="2025-06-05T08:50:42.390" v="44" actId="20577"/>
          <ac:spMkLst>
            <pc:docMk/>
            <pc:sldMk cId="3792469409" sldId="463"/>
            <ac:spMk id="6" creationId="{6D44BD3F-8C8C-AE65-D563-551E856E75CD}"/>
          </ac:spMkLst>
        </pc:spChg>
      </pc:sldChg>
      <pc:sldChg chg="modSp add mod">
        <pc:chgData name="Xuanchinguyen Damien" userId="86c02b25-a6b0-4c42-a33f-49f52774530f" providerId="ADAL" clId="{F495D41F-C77A-44DE-B505-70A92170D303}" dt="2025-06-05T08:51:24.344" v="93" actId="20577"/>
        <pc:sldMkLst>
          <pc:docMk/>
          <pc:sldMk cId="299385896" sldId="464"/>
        </pc:sldMkLst>
        <pc:spChg chg="mod">
          <ac:chgData name="Xuanchinguyen Damien" userId="86c02b25-a6b0-4c42-a33f-49f52774530f" providerId="ADAL" clId="{F495D41F-C77A-44DE-B505-70A92170D303}" dt="2025-06-05T08:51:24.344" v="93" actId="20577"/>
          <ac:spMkLst>
            <pc:docMk/>
            <pc:sldMk cId="299385896" sldId="464"/>
            <ac:spMk id="6" creationId="{A4D888EC-D840-7475-84FD-9EBD9297E068}"/>
          </ac:spMkLst>
        </pc:spChg>
      </pc:sldChg>
      <pc:sldChg chg="delSp modSp add mod">
        <pc:chgData name="Xuanchinguyen Damien" userId="86c02b25-a6b0-4c42-a33f-49f52774530f" providerId="ADAL" clId="{F495D41F-C77A-44DE-B505-70A92170D303}" dt="2025-06-05T08:52:59.907" v="168" actId="14100"/>
        <pc:sldMkLst>
          <pc:docMk/>
          <pc:sldMk cId="2573578892" sldId="465"/>
        </pc:sldMkLst>
        <pc:spChg chg="mod">
          <ac:chgData name="Xuanchinguyen Damien" userId="86c02b25-a6b0-4c42-a33f-49f52774530f" providerId="ADAL" clId="{F495D41F-C77A-44DE-B505-70A92170D303}" dt="2025-06-05T08:52:19.911" v="154" actId="6549"/>
          <ac:spMkLst>
            <pc:docMk/>
            <pc:sldMk cId="2573578892" sldId="465"/>
            <ac:spMk id="2" creationId="{CE19E6EA-7B7D-FD27-C60A-EF4279877EA4}"/>
          </ac:spMkLst>
        </pc:spChg>
        <pc:spChg chg="mod">
          <ac:chgData name="Xuanchinguyen Damien" userId="86c02b25-a6b0-4c42-a33f-49f52774530f" providerId="ADAL" clId="{F495D41F-C77A-44DE-B505-70A92170D303}" dt="2025-06-05T08:52:59.907" v="168" actId="14100"/>
          <ac:spMkLst>
            <pc:docMk/>
            <pc:sldMk cId="2573578892" sldId="465"/>
            <ac:spMk id="5" creationId="{46F4D8C7-8E8A-DFD8-ECEB-31DBC8ABB09F}"/>
          </ac:spMkLst>
        </pc:spChg>
        <pc:spChg chg="del">
          <ac:chgData name="Xuanchinguyen Damien" userId="86c02b25-a6b0-4c42-a33f-49f52774530f" providerId="ADAL" clId="{F495D41F-C77A-44DE-B505-70A92170D303}" dt="2025-06-05T08:52:54.383" v="167" actId="478"/>
          <ac:spMkLst>
            <pc:docMk/>
            <pc:sldMk cId="2573578892" sldId="465"/>
            <ac:spMk id="6" creationId="{5024B317-9628-A3C3-7F04-F8CBDBB8EA24}"/>
          </ac:spMkLst>
        </pc:spChg>
        <pc:spChg chg="mod">
          <ac:chgData name="Xuanchinguyen Damien" userId="86c02b25-a6b0-4c42-a33f-49f52774530f" providerId="ADAL" clId="{F495D41F-C77A-44DE-B505-70A92170D303}" dt="2025-06-05T08:52:50.003" v="165" actId="20577"/>
          <ac:spMkLst>
            <pc:docMk/>
            <pc:sldMk cId="2573578892" sldId="465"/>
            <ac:spMk id="11" creationId="{0D8233CC-0368-63D2-D8C9-337EBD07EA80}"/>
          </ac:spMkLst>
        </pc:spChg>
        <pc:spChg chg="del">
          <ac:chgData name="Xuanchinguyen Damien" userId="86c02b25-a6b0-4c42-a33f-49f52774530f" providerId="ADAL" clId="{F495D41F-C77A-44DE-B505-70A92170D303}" dt="2025-06-05T08:52:52.415" v="166" actId="478"/>
          <ac:spMkLst>
            <pc:docMk/>
            <pc:sldMk cId="2573578892" sldId="465"/>
            <ac:spMk id="12" creationId="{B513CE83-6814-E878-AE39-589A00844654}"/>
          </ac:spMkLst>
        </pc:spChg>
        <pc:picChg chg="del">
          <ac:chgData name="Xuanchinguyen Damien" userId="86c02b25-a6b0-4c42-a33f-49f52774530f" providerId="ADAL" clId="{F495D41F-C77A-44DE-B505-70A92170D303}" dt="2025-06-05T08:52:25.627" v="156" actId="478"/>
          <ac:picMkLst>
            <pc:docMk/>
            <pc:sldMk cId="2573578892" sldId="465"/>
            <ac:picMk id="3" creationId="{020A6EF1-2AC1-EF0D-CA1B-F021F8A29DD7}"/>
          </ac:picMkLst>
        </pc:picChg>
        <pc:picChg chg="del">
          <ac:chgData name="Xuanchinguyen Damien" userId="86c02b25-a6b0-4c42-a33f-49f52774530f" providerId="ADAL" clId="{F495D41F-C77A-44DE-B505-70A92170D303}" dt="2025-06-05T08:52:23.670" v="155" actId="478"/>
          <ac:picMkLst>
            <pc:docMk/>
            <pc:sldMk cId="2573578892" sldId="465"/>
            <ac:picMk id="8" creationId="{366F6CEA-9460-D122-B5D9-CA95C8F82EBA}"/>
          </ac:picMkLst>
        </pc:picChg>
        <pc:picChg chg="del">
          <ac:chgData name="Xuanchinguyen Damien" userId="86c02b25-a6b0-4c42-a33f-49f52774530f" providerId="ADAL" clId="{F495D41F-C77A-44DE-B505-70A92170D303}" dt="2025-06-05T08:52:30.300" v="158" actId="478"/>
          <ac:picMkLst>
            <pc:docMk/>
            <pc:sldMk cId="2573578892" sldId="465"/>
            <ac:picMk id="9" creationId="{8265323F-0E39-00FC-7EF2-BD856EFAC3E2}"/>
          </ac:picMkLst>
        </pc:picChg>
        <pc:picChg chg="del">
          <ac:chgData name="Xuanchinguyen Damien" userId="86c02b25-a6b0-4c42-a33f-49f52774530f" providerId="ADAL" clId="{F495D41F-C77A-44DE-B505-70A92170D303}" dt="2025-06-05T08:52:28.040" v="157" actId="478"/>
          <ac:picMkLst>
            <pc:docMk/>
            <pc:sldMk cId="2573578892" sldId="465"/>
            <ac:picMk id="10" creationId="{A14EE6A7-76B1-09D5-53E5-C41C2033C426}"/>
          </ac:picMkLst>
        </pc:picChg>
      </pc:sldChg>
      <pc:sldChg chg="del">
        <pc:chgData name="Xuanchinguyen Damien" userId="86c02b25-a6b0-4c42-a33f-49f52774530f" providerId="ADAL" clId="{F495D41F-C77A-44DE-B505-70A92170D303}" dt="2025-06-05T08:49:58.614" v="16" actId="47"/>
        <pc:sldMkLst>
          <pc:docMk/>
          <pc:sldMk cId="3424804821" sldId="3284"/>
        </pc:sldMkLst>
      </pc:sldChg>
    </pc:docChg>
  </pc:docChgLst>
  <pc:docChgLst>
    <pc:chgData name="Xuanchinguyen Damien" userId="86c02b25-a6b0-4c42-a33f-49f52774530f" providerId="ADAL" clId="{3B24CBFF-7282-4031-8131-B12EBADB59FE}"/>
    <pc:docChg chg="undo custSel addSld delSld modSld sldOrd">
      <pc:chgData name="Xuanchinguyen Damien" userId="86c02b25-a6b0-4c42-a33f-49f52774530f" providerId="ADAL" clId="{3B24CBFF-7282-4031-8131-B12EBADB59FE}" dt="2025-06-06T23:14:36.074" v="347"/>
      <pc:docMkLst>
        <pc:docMk/>
      </pc:docMkLst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120656344" sldId="271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3871016939" sldId="271"/>
        </pc:sldMkLst>
      </pc:sldChg>
      <pc:sldChg chg="add del">
        <pc:chgData name="Xuanchinguyen Damien" userId="86c02b25-a6b0-4c42-a33f-49f52774530f" providerId="ADAL" clId="{3B24CBFF-7282-4031-8131-B12EBADB59FE}" dt="2025-06-06T23:08:36.625" v="22" actId="2696"/>
        <pc:sldMkLst>
          <pc:docMk/>
          <pc:sldMk cId="2519664086" sldId="272"/>
        </pc:sldMkLst>
      </pc:sldChg>
      <pc:sldChg chg="modSp add mod">
        <pc:chgData name="Xuanchinguyen Damien" userId="86c02b25-a6b0-4c42-a33f-49f52774530f" providerId="ADAL" clId="{3B24CBFF-7282-4031-8131-B12EBADB59FE}" dt="2025-06-06T23:13:42.330" v="284" actId="6549"/>
        <pc:sldMkLst>
          <pc:docMk/>
          <pc:sldMk cId="3242667598" sldId="272"/>
        </pc:sldMkLst>
        <pc:spChg chg="mod">
          <ac:chgData name="Xuanchinguyen Damien" userId="86c02b25-a6b0-4c42-a33f-49f52774530f" providerId="ADAL" clId="{3B24CBFF-7282-4031-8131-B12EBADB59FE}" dt="2025-06-06T23:13:42.330" v="284" actId="6549"/>
          <ac:spMkLst>
            <pc:docMk/>
            <pc:sldMk cId="3242667598" sldId="272"/>
            <ac:spMk id="3" creationId="{A42591BC-2DC2-DDC2-05EB-06E9FD177927}"/>
          </ac:spMkLst>
        </pc:spChg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4193691847" sldId="272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638841646" sldId="282"/>
        </pc:sldMkLst>
      </pc:sldChg>
      <pc:sldChg chg="add del">
        <pc:chgData name="Xuanchinguyen Damien" userId="86c02b25-a6b0-4c42-a33f-49f52774530f" providerId="ADAL" clId="{3B24CBFF-7282-4031-8131-B12EBADB59FE}" dt="2025-06-06T23:07:26.185" v="4" actId="47"/>
        <pc:sldMkLst>
          <pc:docMk/>
          <pc:sldMk cId="4197267751" sldId="282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649089160" sldId="283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2649818604" sldId="283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2474087908" sldId="285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580512131" sldId="285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393079904" sldId="286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2305586213" sldId="286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105552309" sldId="287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1723396389" sldId="287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363507005" sldId="289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1753390557" sldId="289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815088178" sldId="290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826664291" sldId="290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4125993798" sldId="294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4126665692" sldId="294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714467725" sldId="296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3650759882" sldId="296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1454798148" sldId="297"/>
        </pc:sldMkLst>
      </pc:sldChg>
      <pc:sldChg chg="add del">
        <pc:chgData name="Xuanchinguyen Damien" userId="86c02b25-a6b0-4c42-a33f-49f52774530f" providerId="ADAL" clId="{3B24CBFF-7282-4031-8131-B12EBADB59FE}" dt="2025-06-06T23:07:52.024" v="5" actId="47"/>
        <pc:sldMkLst>
          <pc:docMk/>
          <pc:sldMk cId="2295681152" sldId="297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1032582252" sldId="419"/>
        </pc:sldMkLst>
      </pc:sldChg>
      <pc:sldChg chg="add">
        <pc:chgData name="Xuanchinguyen Damien" userId="86c02b25-a6b0-4c42-a33f-49f52774530f" providerId="ADAL" clId="{3B24CBFF-7282-4031-8131-B12EBADB59FE}" dt="2025-06-06T23:07:06.618" v="1"/>
        <pc:sldMkLst>
          <pc:docMk/>
          <pc:sldMk cId="1162702128" sldId="419"/>
        </pc:sldMkLst>
      </pc:sldChg>
      <pc:sldChg chg="modSp add mod">
        <pc:chgData name="Xuanchinguyen Damien" userId="86c02b25-a6b0-4c42-a33f-49f52774530f" providerId="ADAL" clId="{3B24CBFF-7282-4031-8131-B12EBADB59FE}" dt="2025-06-06T23:08:09.336" v="12" actId="20577"/>
        <pc:sldMkLst>
          <pc:docMk/>
          <pc:sldMk cId="3308186084" sldId="462"/>
        </pc:sldMkLst>
        <pc:spChg chg="mod">
          <ac:chgData name="Xuanchinguyen Damien" userId="86c02b25-a6b0-4c42-a33f-49f52774530f" providerId="ADAL" clId="{3B24CBFF-7282-4031-8131-B12EBADB59FE}" dt="2025-06-06T23:08:09.336" v="12" actId="20577"/>
          <ac:spMkLst>
            <pc:docMk/>
            <pc:sldMk cId="3308186084" sldId="462"/>
            <ac:spMk id="6" creationId="{A41677AA-EFE3-8962-A20B-FD8FBBE23D92}"/>
          </ac:spMkLst>
        </pc:spChg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3503787461" sldId="462"/>
        </pc:sldMkLst>
      </pc:sldChg>
      <pc:sldChg chg="modSp add mod">
        <pc:chgData name="Xuanchinguyen Damien" userId="86c02b25-a6b0-4c42-a33f-49f52774530f" providerId="ADAL" clId="{3B24CBFF-7282-4031-8131-B12EBADB59FE}" dt="2025-06-06T23:08:23.954" v="19" actId="20577"/>
        <pc:sldMkLst>
          <pc:docMk/>
          <pc:sldMk cId="3519047618" sldId="463"/>
        </pc:sldMkLst>
        <pc:spChg chg="mod">
          <ac:chgData name="Xuanchinguyen Damien" userId="86c02b25-a6b0-4c42-a33f-49f52774530f" providerId="ADAL" clId="{3B24CBFF-7282-4031-8131-B12EBADB59FE}" dt="2025-06-06T23:08:23.954" v="19" actId="20577"/>
          <ac:spMkLst>
            <pc:docMk/>
            <pc:sldMk cId="3519047618" sldId="463"/>
            <ac:spMk id="6" creationId="{6D44BD3F-8C8C-AE65-D563-551E856E75CD}"/>
          </ac:spMkLst>
        </pc:spChg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3792469409" sldId="463"/>
        </pc:sldMkLst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99385896" sldId="464"/>
        </pc:sldMkLst>
      </pc:sldChg>
      <pc:sldChg chg="add">
        <pc:chgData name="Xuanchinguyen Damien" userId="86c02b25-a6b0-4c42-a33f-49f52774530f" providerId="ADAL" clId="{3B24CBFF-7282-4031-8131-B12EBADB59FE}" dt="2025-06-06T23:08:42.190" v="23"/>
        <pc:sldMkLst>
          <pc:docMk/>
          <pc:sldMk cId="3938052658" sldId="464"/>
        </pc:sldMkLst>
      </pc:sldChg>
      <pc:sldChg chg="add del">
        <pc:chgData name="Xuanchinguyen Damien" userId="86c02b25-a6b0-4c42-a33f-49f52774530f" providerId="ADAL" clId="{3B24CBFF-7282-4031-8131-B12EBADB59FE}" dt="2025-06-06T23:08:36.625" v="22" actId="2696"/>
        <pc:sldMkLst>
          <pc:docMk/>
          <pc:sldMk cId="4071629332" sldId="464"/>
        </pc:sldMkLst>
      </pc:sldChg>
      <pc:sldChg chg="addSp modSp add mod">
        <pc:chgData name="Xuanchinguyen Damien" userId="86c02b25-a6b0-4c42-a33f-49f52774530f" providerId="ADAL" clId="{3B24CBFF-7282-4031-8131-B12EBADB59FE}" dt="2025-06-06T23:10:07.410" v="38" actId="14100"/>
        <pc:sldMkLst>
          <pc:docMk/>
          <pc:sldMk cId="1196628346" sldId="465"/>
        </pc:sldMkLst>
        <pc:picChg chg="add mod">
          <ac:chgData name="Xuanchinguyen Damien" userId="86c02b25-a6b0-4c42-a33f-49f52774530f" providerId="ADAL" clId="{3B24CBFF-7282-4031-8131-B12EBADB59FE}" dt="2025-06-06T23:10:07.410" v="38" actId="14100"/>
          <ac:picMkLst>
            <pc:docMk/>
            <pc:sldMk cId="1196628346" sldId="465"/>
            <ac:picMk id="4" creationId="{317BEC9E-9CAF-710D-7049-AE2A5907B9CE}"/>
          </ac:picMkLst>
        </pc:picChg>
        <pc:picChg chg="add mod">
          <ac:chgData name="Xuanchinguyen Damien" userId="86c02b25-a6b0-4c42-a33f-49f52774530f" providerId="ADAL" clId="{3B24CBFF-7282-4031-8131-B12EBADB59FE}" dt="2025-06-06T23:09:50.443" v="36" actId="1076"/>
          <ac:picMkLst>
            <pc:docMk/>
            <pc:sldMk cId="1196628346" sldId="465"/>
            <ac:picMk id="7" creationId="{B23D3923-15AD-AC6C-EA3C-E1B4F237A662}"/>
          </ac:picMkLst>
        </pc:picChg>
      </pc:sldChg>
      <pc:sldChg chg="del">
        <pc:chgData name="Xuanchinguyen Damien" userId="86c02b25-a6b0-4c42-a33f-49f52774530f" providerId="ADAL" clId="{3B24CBFF-7282-4031-8131-B12EBADB59FE}" dt="2025-06-06T23:07:02.309" v="0" actId="2696"/>
        <pc:sldMkLst>
          <pc:docMk/>
          <pc:sldMk cId="2573578892" sldId="465"/>
        </pc:sldMkLst>
      </pc:sldChg>
      <pc:sldChg chg="addSp delSp modSp new mod modClrScheme chgLayout">
        <pc:chgData name="Xuanchinguyen Damien" userId="86c02b25-a6b0-4c42-a33f-49f52774530f" providerId="ADAL" clId="{3B24CBFF-7282-4031-8131-B12EBADB59FE}" dt="2025-06-06T23:10:52.723" v="85" actId="20577"/>
        <pc:sldMkLst>
          <pc:docMk/>
          <pc:sldMk cId="2637532590" sldId="2147480012"/>
        </pc:sldMkLst>
        <pc:spChg chg="del mod ord">
          <ac:chgData name="Xuanchinguyen Damien" userId="86c02b25-a6b0-4c42-a33f-49f52774530f" providerId="ADAL" clId="{3B24CBFF-7282-4031-8131-B12EBADB59FE}" dt="2025-06-06T23:10:37.702" v="42" actId="700"/>
          <ac:spMkLst>
            <pc:docMk/>
            <pc:sldMk cId="2637532590" sldId="2147480012"/>
            <ac:spMk id="2" creationId="{17905201-DCFC-3FC7-CA20-B80F77EAC49A}"/>
          </ac:spMkLst>
        </pc:spChg>
        <pc:spChg chg="add mod ord">
          <ac:chgData name="Xuanchinguyen Damien" userId="86c02b25-a6b0-4c42-a33f-49f52774530f" providerId="ADAL" clId="{3B24CBFF-7282-4031-8131-B12EBADB59FE}" dt="2025-06-06T23:10:52.723" v="85" actId="20577"/>
          <ac:spMkLst>
            <pc:docMk/>
            <pc:sldMk cId="2637532590" sldId="2147480012"/>
            <ac:spMk id="3" creationId="{5D5ED311-E82C-3F5B-F46C-D329335D899D}"/>
          </ac:spMkLst>
        </pc:spChg>
        <pc:spChg chg="add mod ord">
          <ac:chgData name="Xuanchinguyen Damien" userId="86c02b25-a6b0-4c42-a33f-49f52774530f" providerId="ADAL" clId="{3B24CBFF-7282-4031-8131-B12EBADB59FE}" dt="2025-06-06T23:10:37.702" v="42" actId="700"/>
          <ac:spMkLst>
            <pc:docMk/>
            <pc:sldMk cId="2637532590" sldId="2147480012"/>
            <ac:spMk id="4" creationId="{004D7B3C-31C7-2602-EF71-84EC29B920EC}"/>
          </ac:spMkLst>
        </pc:spChg>
      </pc:sldChg>
      <pc:sldChg chg="addSp delSp modSp add mod">
        <pc:chgData name="Xuanchinguyen Damien" userId="86c02b25-a6b0-4c42-a33f-49f52774530f" providerId="ADAL" clId="{3B24CBFF-7282-4031-8131-B12EBADB59FE}" dt="2025-06-06T23:14:30.191" v="345" actId="20577"/>
        <pc:sldMkLst>
          <pc:docMk/>
          <pc:sldMk cId="2859170332" sldId="2147480013"/>
        </pc:sldMkLst>
        <pc:spChg chg="del">
          <ac:chgData name="Xuanchinguyen Damien" userId="86c02b25-a6b0-4c42-a33f-49f52774530f" providerId="ADAL" clId="{3B24CBFF-7282-4031-8131-B12EBADB59FE}" dt="2025-06-06T23:10:58.891" v="87" actId="478"/>
          <ac:spMkLst>
            <pc:docMk/>
            <pc:sldMk cId="2859170332" sldId="2147480013"/>
            <ac:spMk id="4" creationId="{9EB494AC-3A40-DE2E-C1D0-5B84C920F73C}"/>
          </ac:spMkLst>
        </pc:spChg>
        <pc:graphicFrameChg chg="add mod modGraphic">
          <ac:chgData name="Xuanchinguyen Damien" userId="86c02b25-a6b0-4c42-a33f-49f52774530f" providerId="ADAL" clId="{3B24CBFF-7282-4031-8131-B12EBADB59FE}" dt="2025-06-06T23:14:30.191" v="345" actId="20577"/>
          <ac:graphicFrameMkLst>
            <pc:docMk/>
            <pc:sldMk cId="2859170332" sldId="2147480013"/>
            <ac:graphicFrameMk id="2" creationId="{27F1E2C7-1D4D-32CC-BA11-002095B2FEB8}"/>
          </ac:graphicFrameMkLst>
        </pc:graphicFrameChg>
      </pc:sldChg>
      <pc:sldChg chg="modSp add mod ord">
        <pc:chgData name="Xuanchinguyen Damien" userId="86c02b25-a6b0-4c42-a33f-49f52774530f" providerId="ADAL" clId="{3B24CBFF-7282-4031-8131-B12EBADB59FE}" dt="2025-06-06T23:14:36.074" v="347"/>
        <pc:sldMkLst>
          <pc:docMk/>
          <pc:sldMk cId="1338113150" sldId="2147480014"/>
        </pc:sldMkLst>
        <pc:spChg chg="mod">
          <ac:chgData name="Xuanchinguyen Damien" userId="86c02b25-a6b0-4c42-a33f-49f52774530f" providerId="ADAL" clId="{3B24CBFF-7282-4031-8131-B12EBADB59FE}" dt="2025-06-06T23:14:05.778" v="319" actId="20577"/>
          <ac:spMkLst>
            <pc:docMk/>
            <pc:sldMk cId="1338113150" sldId="2147480014"/>
            <ac:spMk id="3" creationId="{628E6806-174D-D6D1-F52B-B2CAF00844E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797246" y="0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99AC6EB7-F2FD-4EA2-B761-372ACA75BFF5}" type="datetimeFigureOut">
              <a:rPr lang="zh-CN" altLang="en-US"/>
              <a:pPr>
                <a:defRPr/>
              </a:pPr>
              <a:t>2025/10/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747627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797246" y="6747627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29830E75-6412-45DA-AD59-0B5882F5178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59410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797246" y="0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6EAE9356-D556-4F1B-AF1E-0FE8E3A12D52}" type="datetimeFigureOut">
              <a:rPr lang="zh-CN" altLang="en-US"/>
              <a:pPr>
                <a:defRPr/>
              </a:pPr>
              <a:t>2025/10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749550" y="533400"/>
            <a:ext cx="4735513" cy="2663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68" tIns="47334" rIns="94668" bIns="47334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1023462" y="3374430"/>
            <a:ext cx="8187690" cy="3196828"/>
          </a:xfrm>
          <a:prstGeom prst="rect">
            <a:avLst/>
          </a:prstGeom>
        </p:spPr>
        <p:txBody>
          <a:bodyPr vert="horz" lIns="94668" tIns="47334" rIns="94668" bIns="47334" rtlCol="0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747627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797246" y="6747627"/>
            <a:ext cx="4434998" cy="355203"/>
          </a:xfrm>
          <a:prstGeom prst="rect">
            <a:avLst/>
          </a:prstGeom>
        </p:spPr>
        <p:txBody>
          <a:bodyPr vert="horz" lIns="94668" tIns="47334" rIns="94668" bIns="4733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98661938-92E4-4BA2-A85E-738FDCC6DB2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42884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238" userDrawn="1">
          <p15:clr>
            <a:srgbClr val="F26B43"/>
          </p15:clr>
        </p15:guide>
        <p15:guide id="2" pos="3223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3000"/>
              </a:lnSpc>
            </a:pPr>
            <a:r>
              <a:rPr lang="en-US" altLang="zh-CN" sz="2400" dirty="0"/>
              <a:t>Wison has pioneered FLNG development since the first FLNG (Tango)was built and commissioned in 2015.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CE265F-CA3B-426D-8C05-4D0A89416CB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779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0838" y="715963"/>
            <a:ext cx="6359525" cy="3578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WW</a:t>
            </a:r>
          </a:p>
        </p:txBody>
      </p:sp>
    </p:spTree>
    <p:extLst>
      <p:ext uri="{BB962C8B-B14F-4D97-AF65-F5344CB8AC3E}">
        <p14:creationId xmlns:p14="http://schemas.microsoft.com/office/powerpoint/2010/main" val="42208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69159-B928-10E4-927C-4A3063A137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4D68D8C-688B-8880-5556-352B011959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A68BA2C-1F25-D51A-BACF-77A59101F5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374EDC4-93B4-4B5E-C909-589B69E1F5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CE265F-CA3B-426D-8C05-4D0A89416CBE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15278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G2 e-FLNG portside and starboard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CE265F-CA3B-426D-8C05-4D0A89416CBE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7518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CE265F-CA3B-426D-8C05-4D0A89416CBE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74235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6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1049087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baseline="0">
                <a:solidFill>
                  <a:srgbClr val="000000"/>
                </a:solidFill>
                <a:latin typeface="ABBvoice" panose="020D0603020503020204" pitchFamily="34" charset="0"/>
              </a:rPr>
              <a:t>Not shown, but included:</a:t>
            </a:r>
          </a:p>
          <a:p>
            <a:endParaRPr lang="en-GB" sz="1200" b="0" i="0" u="none" strike="noStrike" baseline="0">
              <a:solidFill>
                <a:srgbClr val="000000"/>
              </a:solidFill>
              <a:latin typeface="ABBvoice" panose="020D0603020503020204" pitchFamily="34" charset="0"/>
            </a:endParaRPr>
          </a:p>
          <a:p>
            <a:r>
              <a:rPr lang="en-GB" sz="1200" b="0" i="0" u="none" strike="noStrike" baseline="0">
                <a:solidFill>
                  <a:srgbClr val="000000"/>
                </a:solidFill>
                <a:latin typeface="ABBvoice" panose="020D0603020503020204" pitchFamily="34" charset="0"/>
              </a:rPr>
              <a:t>Is limiter</a:t>
            </a:r>
          </a:p>
          <a:p>
            <a:endParaRPr lang="en-GB" sz="1200" b="0" i="0" u="none" strike="noStrike" baseline="0">
              <a:solidFill>
                <a:srgbClr val="000000"/>
              </a:solidFill>
              <a:latin typeface="ABBvoice" panose="020D0603020503020204" pitchFamily="34" charset="0"/>
            </a:endParaRPr>
          </a:p>
          <a:p>
            <a:r>
              <a:rPr lang="en-GB" sz="1200" b="0" i="0" u="none" strike="noStrike" baseline="0">
                <a:solidFill>
                  <a:srgbClr val="000000"/>
                </a:solidFill>
                <a:latin typeface="ABBvoice" panose="020D0603020503020204" pitchFamily="34" charset="0"/>
              </a:rPr>
              <a:t>Step down Transformers are included</a:t>
            </a:r>
          </a:p>
          <a:p>
            <a:endParaRPr lang="en-GB" sz="1200" b="0" i="0" u="none" strike="noStrike" baseline="0">
              <a:solidFill>
                <a:srgbClr val="000000"/>
              </a:solidFill>
              <a:latin typeface="ABBvoice" panose="020D0603020503020204" pitchFamily="34" charset="0"/>
            </a:endParaRPr>
          </a:p>
          <a:p>
            <a:r>
              <a:rPr lang="en-GB" sz="1200" b="0" i="0" u="none" strike="noStrike" baseline="0">
                <a:solidFill>
                  <a:srgbClr val="000000"/>
                </a:solidFill>
                <a:latin typeface="ABBvoice" panose="020D0603020503020204" pitchFamily="34" charset="0"/>
              </a:rPr>
              <a:t>Option 2 Drive Train smaller motor</a:t>
            </a:r>
            <a:endParaRPr lang="en-GB"/>
          </a:p>
        </p:txBody>
      </p:sp>
      <p:sp>
        <p:nvSpPr>
          <p:cNvPr id="1049088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4E69C-C28A-4BE6-BE89-71D8FB2035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 panose="020D0603020503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 panose="020D0603020503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ame as the previous 3 </a:t>
            </a:r>
            <a:r>
              <a:rPr lang="en-US" altLang="zh-CN" dirty="0" err="1"/>
              <a:t>colour</a:t>
            </a:r>
            <a:r>
              <a:rPr lang="en-US" altLang="zh-CN" dirty="0"/>
              <a:t> roadmap</a:t>
            </a:r>
          </a:p>
          <a:p>
            <a:r>
              <a:rPr lang="en-US" altLang="zh-CN" dirty="0"/>
              <a:t>E-FLNG new technologies are following TRL evaluation proces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CE265F-CA3B-426D-8C05-4D0A89416CBE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2390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8.jpe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0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8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自定义插图TitleSlideCustom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页背景图CustomBackgroundPicture4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5144400"/>
          </a:xfrm>
          <a:noFill/>
        </p:spPr>
        <p:txBody>
          <a:bodyPr anchor="t" anchorCtr="1">
            <a:normAutofit/>
          </a:bodyPr>
          <a:lstStyle>
            <a:lvl1pPr algn="l">
              <a:lnSpc>
                <a:spcPct val="125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本幻灯片中心的图标可插入背景图片，若背景图为深色，请将标题、部门、日期文本改为白色。</a:t>
            </a:r>
            <a:br>
              <a:rPr lang="en-US" altLang="zh-CN" dirty="0"/>
            </a:br>
            <a:r>
              <a:rPr lang="en-US" altLang="zh-CN" dirty="0"/>
              <a:t>Click the icon in the center of this slide to insert a picture as background, if the background is dark, please change text color to white.</a:t>
            </a:r>
            <a:endParaRPr lang="zh-CN" altLang="en-US" dirty="0"/>
          </a:p>
        </p:txBody>
      </p:sp>
      <p:sp>
        <p:nvSpPr>
          <p:cNvPr id="14" name="Logo与飘带图片Logo&amp;Ribbon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74000"/>
            <a:ext cx="9144000" cy="25704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algn="l">
              <a:lnSpc>
                <a:spcPct val="150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请保留</a:t>
            </a:r>
            <a:r>
              <a:rPr lang="en-US" altLang="zh-CN" dirty="0"/>
              <a:t>Logo</a:t>
            </a:r>
            <a:r>
              <a:rPr lang="zh-CN" altLang="en-US" dirty="0"/>
              <a:t>与飘带图片。</a:t>
            </a:r>
            <a:r>
              <a:rPr lang="en-US" altLang="zh-CN" dirty="0"/>
              <a:t>Do not delete logo &amp; ribbon pleas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3" name="日期占位符DateTextFrame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3168000"/>
            <a:ext cx="4104000" cy="360362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日期文本 </a:t>
            </a:r>
            <a:r>
              <a:rPr lang="en-US" altLang="zh-CN" dirty="0"/>
              <a:t>Date Text</a:t>
            </a:r>
            <a:endParaRPr lang="zh-CN" altLang="en-US" dirty="0"/>
          </a:p>
        </p:txBody>
      </p:sp>
      <p:sp>
        <p:nvSpPr>
          <p:cNvPr id="11" name="部门占位符DepartmentTextFrame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2808000"/>
            <a:ext cx="4104000" cy="3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部门文本 </a:t>
            </a:r>
            <a:r>
              <a:rPr lang="en-US" altLang="zh-CN" dirty="0"/>
              <a:t>Department Text</a:t>
            </a:r>
            <a:endParaRPr lang="zh-CN" altLang="en-US" dirty="0"/>
          </a:p>
        </p:txBody>
      </p:sp>
      <p:sp>
        <p:nvSpPr>
          <p:cNvPr id="3" name="副标题占位符TitleTextFrame"/>
          <p:cNvSpPr>
            <a:spLocks noGrp="1"/>
          </p:cNvSpPr>
          <p:nvPr>
            <p:ph type="subTitle" idx="1" hasCustomPrompt="1"/>
          </p:nvPr>
        </p:nvSpPr>
        <p:spPr>
          <a:xfrm>
            <a:off x="468000" y="1728000"/>
            <a:ext cx="6732000" cy="46800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输入副标题文本 </a:t>
            </a:r>
            <a:r>
              <a:rPr lang="en-US" altLang="zh-CN" dirty="0"/>
              <a:t>Sub-title Text</a:t>
            </a:r>
            <a:endParaRPr lang="zh-CN" altLang="en-US" dirty="0"/>
          </a:p>
        </p:txBody>
      </p:sp>
      <p:sp>
        <p:nvSpPr>
          <p:cNvPr id="2" name="主标题占位符TitleTextFrame"/>
          <p:cNvSpPr>
            <a:spLocks noGrp="1"/>
          </p:cNvSpPr>
          <p:nvPr>
            <p:ph type="ctrTitle" hasCustomPrompt="1"/>
          </p:nvPr>
        </p:nvSpPr>
        <p:spPr>
          <a:xfrm>
            <a:off x="468000" y="1080000"/>
            <a:ext cx="6732000" cy="648000"/>
          </a:xfrm>
        </p:spPr>
        <p:txBody>
          <a:bodyPr anchor="b">
            <a:noAutofit/>
          </a:bodyPr>
          <a:lstStyle>
            <a:lvl1pPr algn="l"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输入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0110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内容占位符3Placeholder3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2954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内容占位符3Placeholder3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6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64589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内容占位符3Placeholder3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9" name="内容占位符2Placeholder2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7062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9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65812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四栏内容Title&amp;4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内容占位符4Placeholder4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9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5668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六栏内容Title&amp;6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3" name="内容占位符6Placeholder6"/>
          <p:cNvSpPr>
            <a:spLocks noGrp="1"/>
          </p:cNvSpPr>
          <p:nvPr>
            <p:ph sz="quarter" idx="20" hasCustomPrompt="1"/>
          </p:nvPr>
        </p:nvSpPr>
        <p:spPr>
          <a:xfrm>
            <a:off x="6192000" y="3024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1" name="内容占位符5Placeholder5"/>
          <p:cNvSpPr>
            <a:spLocks noGrp="1"/>
          </p:cNvSpPr>
          <p:nvPr>
            <p:ph sz="quarter" idx="18" hasCustomPrompt="1"/>
          </p:nvPr>
        </p:nvSpPr>
        <p:spPr>
          <a:xfrm>
            <a:off x="3222000" y="3024000"/>
            <a:ext cx="2700000" cy="1692000"/>
          </a:xfrm>
        </p:spPr>
        <p:txBody>
          <a:bodyPr/>
          <a:lstStyle/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2" name="内容占位符4Placeholder4"/>
          <p:cNvSpPr>
            <a:spLocks noGrp="1"/>
          </p:cNvSpPr>
          <p:nvPr>
            <p:ph sz="quarter" idx="19" hasCustomPrompt="1"/>
          </p:nvPr>
        </p:nvSpPr>
        <p:spPr>
          <a:xfrm>
            <a:off x="252000" y="3024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4" name="内容占位符3Placeholder3"/>
          <p:cNvSpPr>
            <a:spLocks noGrp="1"/>
          </p:cNvSpPr>
          <p:nvPr>
            <p:ph sz="quarter" idx="21" hasCustomPrompt="1"/>
          </p:nvPr>
        </p:nvSpPr>
        <p:spPr>
          <a:xfrm>
            <a:off x="6192000" y="1116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9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3222000" y="1116000"/>
            <a:ext cx="2700000" cy="1692000"/>
          </a:xfrm>
        </p:spPr>
        <p:txBody>
          <a:bodyPr/>
          <a:lstStyle/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8" name="内容占位符1Placeholder1"/>
          <p:cNvSpPr>
            <a:spLocks noGrp="1"/>
          </p:cNvSpPr>
          <p:nvPr>
            <p:ph sz="quarter" idx="14" hasCustomPrompt="1"/>
          </p:nvPr>
        </p:nvSpPr>
        <p:spPr>
          <a:xfrm>
            <a:off x="252000" y="1116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70645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表格Title&amp;1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表格占位符TablePlaceholder"/>
          <p:cNvSpPr>
            <a:spLocks noGrp="1"/>
          </p:cNvSpPr>
          <p:nvPr>
            <p:ph type="tbl" sz="quarter" idx="11" hasCustomPrompt="1"/>
          </p:nvPr>
        </p:nvSpPr>
        <p:spPr>
          <a:xfrm>
            <a:off x="252413" y="1116000"/>
            <a:ext cx="8640762" cy="36000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表格图标插入表格。</a:t>
            </a:r>
            <a:r>
              <a:rPr lang="en-US" altLang="zh-CN" dirty="0"/>
              <a:t>Click the icon to insert a tabl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216239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Only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20893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背景Dark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隐藏LogoHided"/>
          <p:cNvSpPr/>
          <p:nvPr userDrawn="1"/>
        </p:nvSpPr>
        <p:spPr>
          <a:xfrm>
            <a:off x="7884000" y="0"/>
            <a:ext cx="1260000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7" name="深色图片占位符Dark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4400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250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深色背景图片。</a:t>
            </a:r>
            <a:r>
              <a:rPr lang="en-US" altLang="zh-CN" dirty="0"/>
              <a:t>Click the icon to insert a dark background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  <p:sp>
        <p:nvSpPr>
          <p:cNvPr id="11" name="Logo_WhiteLetter"/>
          <p:cNvSpPr>
            <a:spLocks noGrp="1"/>
          </p:cNvSpPr>
          <p:nvPr>
            <p:ph type="pic" sz="quarter" idx="15" hasCustomPrompt="1"/>
          </p:nvPr>
        </p:nvSpPr>
        <p:spPr>
          <a:xfrm>
            <a:off x="7956000" y="360000"/>
            <a:ext cx="936000" cy="5112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zh-CN" altLang="en-US" dirty="0"/>
              <a:t>白字</a:t>
            </a:r>
            <a:r>
              <a:rPr lang="en-US" altLang="zh-CN" dirty="0"/>
              <a:t>Logo</a:t>
            </a:r>
            <a:br>
              <a:rPr lang="en-US" altLang="zh-CN" dirty="0"/>
            </a:br>
            <a:r>
              <a:rPr lang="en-US" altLang="zh-CN" dirty="0" err="1"/>
              <a:t>WhiteLetterLogo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01914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欢迎页Welcom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红色背景图RedBackgroun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日期占位符DatTextbox"/>
          <p:cNvSpPr>
            <a:spLocks noGrp="1"/>
          </p:cNvSpPr>
          <p:nvPr>
            <p:ph type="body" idx="1" hasCustomPrompt="1"/>
          </p:nvPr>
        </p:nvSpPr>
        <p:spPr>
          <a:xfrm>
            <a:off x="252000" y="2736000"/>
            <a:ext cx="8640000" cy="468000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输入日期 </a:t>
            </a:r>
            <a:r>
              <a:rPr lang="en-US" altLang="zh-CN" dirty="0"/>
              <a:t>Date Text</a:t>
            </a:r>
            <a:endParaRPr lang="zh-CN" altLang="en-US" dirty="0"/>
          </a:p>
        </p:txBody>
      </p:sp>
      <p:sp>
        <p:nvSpPr>
          <p:cNvPr id="2" name="欢迎语占位符WelcomeTextbox"/>
          <p:cNvSpPr>
            <a:spLocks noGrp="1"/>
          </p:cNvSpPr>
          <p:nvPr>
            <p:ph type="title" hasCustomPrompt="1"/>
          </p:nvPr>
        </p:nvSpPr>
        <p:spPr>
          <a:xfrm>
            <a:off x="252000" y="1908000"/>
            <a:ext cx="8640000" cy="648000"/>
          </a:xfrm>
        </p:spPr>
        <p:txBody>
          <a:bodyPr anchor="b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输入欢迎语 </a:t>
            </a:r>
            <a:r>
              <a:rPr lang="en-US" altLang="zh-CN" dirty="0"/>
              <a:t>Welcom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983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尾页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ogo与飘带图片Logo&amp;Ribbon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74000"/>
            <a:ext cx="9144000" cy="25704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algn="l">
              <a:lnSpc>
                <a:spcPct val="125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请保留公司信息和语种正确的结尾页，删除不需要的；必要时可参照示例自行编辑。</a:t>
            </a:r>
            <a:br>
              <a:rPr lang="en-US" altLang="zh-CN" dirty="0"/>
            </a:br>
            <a:r>
              <a:rPr lang="en-US" altLang="zh-CN" dirty="0"/>
              <a:t>Please keep the right end page, and delete the rest; enter custom information if necessary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27751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页红色SectionTitleSlid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红色背景图RedBackgroun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EBEE3AC-30F5-46C8-873A-0A666A590AD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节副标题占位符SectionSub-titleTextFrame"/>
          <p:cNvSpPr>
            <a:spLocks noGrp="1"/>
          </p:cNvSpPr>
          <p:nvPr>
            <p:ph type="subTitle" idx="1" hasCustomPrompt="1"/>
          </p:nvPr>
        </p:nvSpPr>
        <p:spPr>
          <a:xfrm>
            <a:off x="252000" y="2736000"/>
            <a:ext cx="7200000" cy="46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输入节副标题文本 </a:t>
            </a:r>
            <a:r>
              <a:rPr lang="en-US" altLang="zh-CN" dirty="0"/>
              <a:t>Section Sub-title Text</a:t>
            </a:r>
            <a:endParaRPr lang="zh-CN" altLang="en-US" dirty="0"/>
          </a:p>
        </p:txBody>
      </p:sp>
      <p:sp>
        <p:nvSpPr>
          <p:cNvPr id="2" name="节标题占位符Section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输入节标题文本 </a:t>
            </a:r>
            <a:r>
              <a:rPr lang="en-US" altLang="zh-CN" dirty="0"/>
              <a:t>Section Title Text</a:t>
            </a:r>
            <a:endParaRPr lang="zh-CN" altLang="en-US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526EE523-1DE6-9509-A393-F5389EEACF00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30" y="2183611"/>
            <a:ext cx="1174" cy="399600"/>
          </a:xfrm>
          <a:prstGeom prst="line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8882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页蓝色SectionTitleSlid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蓝色背景图BlueBackground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EBEE3AC-30F5-46C8-873A-0A666A590AD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节副标题占位符SectionSub-titleTextFrame"/>
          <p:cNvSpPr>
            <a:spLocks noGrp="1"/>
          </p:cNvSpPr>
          <p:nvPr>
            <p:ph type="subTitle" idx="1" hasCustomPrompt="1"/>
          </p:nvPr>
        </p:nvSpPr>
        <p:spPr>
          <a:xfrm>
            <a:off x="252000" y="2736000"/>
            <a:ext cx="7200000" cy="46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输入节副标题文本 </a:t>
            </a:r>
            <a:r>
              <a:rPr lang="en-US" altLang="zh-CN" dirty="0"/>
              <a:t>Section Sub-title Text</a:t>
            </a:r>
            <a:endParaRPr lang="zh-CN" altLang="en-US" dirty="0"/>
          </a:p>
        </p:txBody>
      </p:sp>
      <p:sp>
        <p:nvSpPr>
          <p:cNvPr id="2" name="节标题占位符SectionTitleTextbox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输入节标题文本 </a:t>
            </a:r>
            <a:r>
              <a:rPr lang="en-US" altLang="zh-CN" dirty="0"/>
              <a:t>Section Title Text</a:t>
            </a:r>
            <a:endParaRPr lang="zh-CN" altLang="en-US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69F21C8E-9007-85AA-56F4-D98DC3166579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30" y="2183611"/>
            <a:ext cx="1174" cy="399600"/>
          </a:xfrm>
          <a:prstGeom prst="line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937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页自定义图片SectionTitleSlideCustom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EBEE3AC-30F5-46C8-873A-0A666A590AD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节标题插图占位符SectionTitlePicture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3888000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l">
              <a:lnSpc>
                <a:spcPct val="150000"/>
              </a:lnSpc>
              <a:buFontTx/>
              <a:buNone/>
              <a:defRPr sz="1400" b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r>
              <a:rPr lang="zh-CN" altLang="en-US" dirty="0"/>
              <a:t>单击图文框中图片图标插入图片。</a:t>
            </a:r>
            <a:r>
              <a:rPr lang="en-US" altLang="zh-CN" dirty="0"/>
              <a:t>Click the icon to insert a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2" name="节标题占位符SectionTitleTextbox"/>
          <p:cNvSpPr>
            <a:spLocks noGrp="1"/>
          </p:cNvSpPr>
          <p:nvPr>
            <p:ph type="title" hasCustomPrompt="1"/>
          </p:nvPr>
        </p:nvSpPr>
        <p:spPr>
          <a:xfrm>
            <a:off x="252000" y="4068000"/>
            <a:ext cx="7200000" cy="540000"/>
          </a:xfrm>
        </p:spPr>
        <p:txBody>
          <a:bodyPr anchor="t" anchorCtr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输入节标题文本 </a:t>
            </a:r>
            <a:r>
              <a:rPr lang="en-US" altLang="zh-CN" dirty="0"/>
              <a:t>Section Title Text</a:t>
            </a:r>
            <a:endParaRPr lang="zh-CN" altLang="en-US" dirty="0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8E7A27A-E56C-D8FD-4A6A-8396CCF506C5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30" y="4138200"/>
            <a:ext cx="1174" cy="399600"/>
          </a:xfrm>
          <a:prstGeom prst="line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9085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尾页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ogo与飘带图片Logo&amp;Ribbon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74000"/>
            <a:ext cx="9144000" cy="25704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algn="l">
              <a:lnSpc>
                <a:spcPct val="125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请保留公司信息和语种正确的结尾页，删除不需要的；必要时可参照示例自行编辑。</a:t>
            </a:r>
            <a:br>
              <a:rPr lang="en-US" altLang="zh-CN" dirty="0"/>
            </a:br>
            <a:r>
              <a:rPr lang="en-US" altLang="zh-CN" dirty="0"/>
              <a:t>Please keep the right end page, and delete the rest; enter custom information if necessary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694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Title&amp;1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304FB5-87BE-426E-BB22-9AC58353C6F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幼圆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ea typeface="幼圆"/>
              <a:cs typeface="+mn-cs"/>
            </a:endParaRPr>
          </a:p>
        </p:txBody>
      </p:sp>
      <p:sp>
        <p:nvSpPr>
          <p:cNvPr id="7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4pPr>
              <a:defRPr/>
            </a:lvl4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92387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4987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Only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50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48851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6028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44432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页自定义插图TitleSlideCustom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页背景图CustomBackgroundPicture4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5144400"/>
          </a:xfrm>
          <a:noFill/>
        </p:spPr>
        <p:txBody>
          <a:bodyPr anchor="t" anchorCtr="1">
            <a:normAutofit/>
          </a:bodyPr>
          <a:lstStyle>
            <a:lvl1pPr algn="l">
              <a:lnSpc>
                <a:spcPct val="125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本幻灯片中心的图标可插入背景图片，若背景图为深色，请将标题、部门、日期文本改为白色。</a:t>
            </a:r>
            <a:br>
              <a:rPr lang="en-US" altLang="zh-CN" dirty="0"/>
            </a:br>
            <a:r>
              <a:rPr lang="en-US" altLang="zh-CN" dirty="0"/>
              <a:t>Click the icon in the center of this slide to insert a picture as background, if the background is dark, please change text color to white.</a:t>
            </a:r>
            <a:endParaRPr lang="zh-CN" altLang="en-US" dirty="0"/>
          </a:p>
        </p:txBody>
      </p:sp>
      <p:sp>
        <p:nvSpPr>
          <p:cNvPr id="14" name="Logo与飘带图片Logo&amp;Ribbon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74000"/>
            <a:ext cx="9144000" cy="25704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algn="l">
              <a:lnSpc>
                <a:spcPct val="150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请保留</a:t>
            </a:r>
            <a:r>
              <a:rPr lang="en-US" altLang="zh-CN" dirty="0"/>
              <a:t>Logo</a:t>
            </a:r>
            <a:r>
              <a:rPr lang="zh-CN" altLang="en-US" dirty="0"/>
              <a:t>与飘带图片。</a:t>
            </a:r>
            <a:r>
              <a:rPr lang="en-US" altLang="zh-CN" dirty="0"/>
              <a:t>Do not delete logo &amp; ribbon pleas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3" name="日期占位符DateTextFrame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3168000"/>
            <a:ext cx="4104000" cy="360362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日期文本 </a:t>
            </a:r>
            <a:r>
              <a:rPr lang="en-US" altLang="zh-CN" dirty="0"/>
              <a:t>Date Text</a:t>
            </a:r>
            <a:endParaRPr lang="zh-CN" altLang="en-US" dirty="0"/>
          </a:p>
        </p:txBody>
      </p:sp>
      <p:sp>
        <p:nvSpPr>
          <p:cNvPr id="11" name="部门占位符DepartmentTextFrame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2808000"/>
            <a:ext cx="4104000" cy="3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部门文本 </a:t>
            </a:r>
            <a:r>
              <a:rPr lang="en-US" altLang="zh-CN" dirty="0"/>
              <a:t>Department Text</a:t>
            </a:r>
            <a:endParaRPr lang="zh-CN" altLang="en-US" dirty="0"/>
          </a:p>
        </p:txBody>
      </p:sp>
      <p:sp>
        <p:nvSpPr>
          <p:cNvPr id="3" name="副标题占位符TitleTextFrame"/>
          <p:cNvSpPr>
            <a:spLocks noGrp="1"/>
          </p:cNvSpPr>
          <p:nvPr>
            <p:ph type="subTitle" idx="1" hasCustomPrompt="1"/>
          </p:nvPr>
        </p:nvSpPr>
        <p:spPr>
          <a:xfrm>
            <a:off x="468000" y="1728000"/>
            <a:ext cx="6732000" cy="46800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输入副标题文本 </a:t>
            </a:r>
            <a:r>
              <a:rPr lang="en-US" altLang="zh-CN" dirty="0"/>
              <a:t>Sub-title Text</a:t>
            </a:r>
            <a:endParaRPr lang="zh-CN" altLang="en-US" dirty="0"/>
          </a:p>
        </p:txBody>
      </p:sp>
      <p:sp>
        <p:nvSpPr>
          <p:cNvPr id="2" name="主标题占位符TitleTextFrame"/>
          <p:cNvSpPr>
            <a:spLocks noGrp="1"/>
          </p:cNvSpPr>
          <p:nvPr>
            <p:ph type="ctrTitle" hasCustomPrompt="1"/>
          </p:nvPr>
        </p:nvSpPr>
        <p:spPr>
          <a:xfrm>
            <a:off x="468000" y="1080000"/>
            <a:ext cx="6732000" cy="648000"/>
          </a:xfrm>
        </p:spPr>
        <p:txBody>
          <a:bodyPr anchor="b">
            <a:noAutofit/>
          </a:bodyPr>
          <a:lstStyle>
            <a:lvl1pPr algn="l"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输入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0044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Title&amp;1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0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11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</a:lvl1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1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8259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5418376E-8955-670F-7823-1D56CE29B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480" y="597555"/>
            <a:ext cx="2522981" cy="397026"/>
          </a:xfrm>
        </p:spPr>
        <p:txBody>
          <a:bodyPr/>
          <a:lstStyle>
            <a:lvl1pPr marL="0" indent="0" algn="l">
              <a:lnSpc>
                <a:spcPts val="2775"/>
              </a:lnSpc>
              <a:buNone/>
              <a:defRPr sz="2475" spc="-45" baseline="0">
                <a:solidFill>
                  <a:schemeClr val="bg1"/>
                </a:solidFill>
                <a:latin typeface="Source Sans 3 SemiBold" panose="020B0303030403020204" pitchFamily="34" charset="0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ABD506D5-D768-5486-76BF-26A3EE3045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14707" y="2118027"/>
            <a:ext cx="5501165" cy="2010451"/>
          </a:xfrm>
        </p:spPr>
        <p:txBody>
          <a:bodyPr/>
          <a:lstStyle>
            <a:lvl1pPr>
              <a:defRPr>
                <a:solidFill>
                  <a:srgbClr val="18295B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F06D1E04-05D2-E561-FCC0-C779C19EA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285" y="2118027"/>
            <a:ext cx="2468507" cy="2010451"/>
          </a:xfrm>
        </p:spPr>
        <p:txBody>
          <a:bodyPr>
            <a:normAutofit/>
          </a:bodyPr>
          <a:lstStyle>
            <a:lvl1pPr marL="214313" indent="-214313" algn="l">
              <a:lnSpc>
                <a:spcPts val="1650"/>
              </a:lnSpc>
              <a:buFont typeface="Arial" panose="020B0604020202020204" pitchFamily="34" charset="0"/>
              <a:buChar char="•"/>
              <a:defRPr sz="1350" spc="0" baseline="0">
                <a:solidFill>
                  <a:srgbClr val="18295B"/>
                </a:solidFill>
                <a:latin typeface="Source Sans 3" panose="020B0303030403020204" pitchFamily="34" charset="0"/>
              </a:defRPr>
            </a:lvl1pPr>
          </a:lstStyle>
          <a:p>
            <a:pPr lvl="0"/>
            <a:r>
              <a:rPr lang="en-GB" dirty="0"/>
              <a:t>Bullet points</a:t>
            </a:r>
          </a:p>
          <a:p>
            <a:pPr lvl="0"/>
            <a:r>
              <a:rPr lang="en-GB" dirty="0"/>
              <a:t>Bullet point 2 etc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BC39A5C-2D1E-8794-99BB-FD5815E27D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1434" y="4340761"/>
            <a:ext cx="933250" cy="5090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64936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5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586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587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  <p:sp>
        <p:nvSpPr>
          <p:cNvPr id="1048588" name="图片占位符 4"/>
          <p:cNvSpPr>
            <a:spLocks noGrp="1"/>
          </p:cNvSpPr>
          <p:nvPr>
            <p:ph type="pic" sz="quarter" idx="15"/>
          </p:nvPr>
        </p:nvSpPr>
        <p:spPr>
          <a:xfrm>
            <a:off x="251999" y="1584000"/>
            <a:ext cx="4168800" cy="3132000"/>
          </a:xfr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8239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两栏内容Title&amp;2Fram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14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252000" y="3024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15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16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9590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、内容和图片Title&amp;1Frame&amp;1Pictur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87" name="图片占位符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186000"/>
            <a:ext cx="9144000" cy="1958400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250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图片。</a:t>
            </a:r>
            <a:r>
              <a:rPr lang="en-US" altLang="zh-CN" dirty="0"/>
              <a:t>Click the icon to insert a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048788" name="灯片编号占位符SlideNumber"/>
          <p:cNvSpPr>
            <a:spLocks noGrp="1"/>
          </p:cNvSpPr>
          <p:nvPr>
            <p:ph type="sldNum" sz="quarter" idx="10"/>
          </p:nvPr>
        </p:nvSpPr>
        <p:spPr>
          <a:xfrm>
            <a:off x="7452000" y="4824000"/>
            <a:ext cx="1440000" cy="216000"/>
          </a:xfrm>
        </p:spPr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789" name="内容占位符Placeholder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944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790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26253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、内容和图片Title&amp;1Frame&amp;1Pictur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7" name="图片占位符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249600" y="0"/>
            <a:ext cx="2894400" cy="5144400"/>
          </a:xfrm>
          <a:solidFill>
            <a:schemeClr val="bg1"/>
          </a:solidFill>
        </p:spPr>
        <p:txBody>
          <a:bodyPr anchor="b" anchorCtr="0">
            <a:normAutofit/>
          </a:bodyPr>
          <a:lstStyle>
            <a:lvl1pPr marL="0" marR="0" indent="0" algn="l" defTabSz="913742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图片。</a:t>
            </a:r>
            <a:br>
              <a:rPr lang="en-US" altLang="zh-CN" dirty="0"/>
            </a:br>
            <a:r>
              <a:rPr lang="en-US" altLang="zh-CN" dirty="0"/>
              <a:t>Click the icon to insert a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endParaRPr lang="en-US" altLang="zh-CN" dirty="0"/>
          </a:p>
          <a:p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048818" name="灯片编号占位符SlideNumber"/>
          <p:cNvSpPr>
            <a:spLocks noGrp="1"/>
          </p:cNvSpPr>
          <p:nvPr>
            <p:ph type="sldNum" sz="quarter" idx="10"/>
          </p:nvPr>
        </p:nvSpPr>
        <p:spPr>
          <a:xfrm>
            <a:off x="7452000" y="4824000"/>
            <a:ext cx="1440000" cy="216000"/>
          </a:xfrm>
        </p:spPr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19" name="内容占位符Placeholder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5760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20" name="标题占位符TitleTextFrame"/>
          <p:cNvSpPr>
            <a:spLocks noGrp="1"/>
          </p:cNvSpPr>
          <p:nvPr>
            <p:ph type="title" hasCustomPrompt="1"/>
          </p:nvPr>
        </p:nvSpPr>
        <p:spPr>
          <a:xfrm>
            <a:off x="252000" y="454787"/>
            <a:ext cx="5760000" cy="321627"/>
          </a:xfrm>
        </p:spPr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97340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45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46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6192000" y="1116000"/>
            <a:ext cx="2700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  <a:p>
            <a:pPr lvl="3"/>
            <a:r>
              <a:rPr lang="zh-CN" altLang="en-US" dirty="0"/>
              <a:t>带编号第一级文本</a:t>
            </a:r>
          </a:p>
          <a:p>
            <a:pPr lvl="4"/>
            <a:r>
              <a:rPr lang="zh-CN" altLang="en-US" dirty="0"/>
              <a:t>带编号第二级文本</a:t>
            </a:r>
            <a:endParaRPr lang="en-US" altLang="zh-CN" dirty="0"/>
          </a:p>
          <a:p>
            <a:pPr lvl="5"/>
            <a:r>
              <a:rPr lang="zh-CN" altLang="en-US" dirty="0"/>
              <a:t>带编号第三级文本</a:t>
            </a:r>
          </a:p>
        </p:txBody>
      </p:sp>
      <p:sp>
        <p:nvSpPr>
          <p:cNvPr id="1048847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3222000" y="1116000"/>
            <a:ext cx="2700000" cy="3600000"/>
          </a:xfrm>
        </p:spPr>
        <p:txBody>
          <a:bodyPr/>
          <a:lstStyle/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en-US" altLang="zh-CN" dirty="0"/>
              <a:t>Text with Number 2</a:t>
            </a:r>
          </a:p>
          <a:p>
            <a:pPr lvl="5"/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48" name="内容占位符1Placeholder1"/>
          <p:cNvSpPr>
            <a:spLocks noGrp="1"/>
          </p:cNvSpPr>
          <p:nvPr>
            <p:ph sz="quarter" idx="14" hasCustomPrompt="1"/>
          </p:nvPr>
        </p:nvSpPr>
        <p:spPr>
          <a:xfrm>
            <a:off x="252000" y="1116000"/>
            <a:ext cx="2700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  <a:p>
            <a:pPr lvl="3"/>
            <a:r>
              <a:rPr lang="zh-CN" altLang="en-US" dirty="0"/>
              <a:t>带编号第一级文本</a:t>
            </a:r>
          </a:p>
          <a:p>
            <a:pPr lvl="4"/>
            <a:r>
              <a:rPr lang="zh-CN" altLang="en-US" dirty="0"/>
              <a:t>带编号第二级文本</a:t>
            </a:r>
            <a:endParaRPr lang="en-US" altLang="zh-CN" dirty="0"/>
          </a:p>
          <a:p>
            <a:pPr lvl="5"/>
            <a:r>
              <a:rPr lang="zh-CN" altLang="en-US" dirty="0"/>
              <a:t>带编号第三级文本</a:t>
            </a:r>
          </a:p>
        </p:txBody>
      </p:sp>
      <p:sp>
        <p:nvSpPr>
          <p:cNvPr id="1048849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98506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2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03" name="内容占位符3Placeholder3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04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05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06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10363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2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33" name="内容占位符3Placeholder3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34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35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36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6194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7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798" name="内容占位符3Placeholder3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799" name="内容占位符2Placeholder2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00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01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85153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27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28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29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30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31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22616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四栏内容Title&amp;4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1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792" name="内容占位符4Placeholder4"/>
          <p:cNvSpPr>
            <a:spLocks noGrp="1"/>
          </p:cNvSpPr>
          <p:nvPr>
            <p:ph sz="quarter" idx="15" hasCustomPrompt="1"/>
          </p:nvPr>
        </p:nvSpPr>
        <p:spPr>
          <a:xfrm>
            <a:off x="4716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793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252000" y="3024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794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795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796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84032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Title&amp;1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4pPr>
              <a:defRPr/>
            </a:lvl4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3618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六栏内容Title&amp;6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7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38" name="内容占位符6Placeholder6"/>
          <p:cNvSpPr>
            <a:spLocks noGrp="1"/>
          </p:cNvSpPr>
          <p:nvPr>
            <p:ph sz="quarter" idx="20" hasCustomPrompt="1"/>
          </p:nvPr>
        </p:nvSpPr>
        <p:spPr>
          <a:xfrm>
            <a:off x="6192000" y="3024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048839" name="内容占位符5Placeholder5"/>
          <p:cNvSpPr>
            <a:spLocks noGrp="1"/>
          </p:cNvSpPr>
          <p:nvPr>
            <p:ph sz="quarter" idx="18" hasCustomPrompt="1"/>
          </p:nvPr>
        </p:nvSpPr>
        <p:spPr>
          <a:xfrm>
            <a:off x="3222000" y="3024000"/>
            <a:ext cx="2700000" cy="1692000"/>
          </a:xfrm>
        </p:spPr>
        <p:txBody>
          <a:bodyPr/>
          <a:lstStyle/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40" name="内容占位符4Placeholder4"/>
          <p:cNvSpPr>
            <a:spLocks noGrp="1"/>
          </p:cNvSpPr>
          <p:nvPr>
            <p:ph sz="quarter" idx="19" hasCustomPrompt="1"/>
          </p:nvPr>
        </p:nvSpPr>
        <p:spPr>
          <a:xfrm>
            <a:off x="252000" y="3024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048841" name="内容占位符3Placeholder3"/>
          <p:cNvSpPr>
            <a:spLocks noGrp="1"/>
          </p:cNvSpPr>
          <p:nvPr>
            <p:ph sz="quarter" idx="21" hasCustomPrompt="1"/>
          </p:nvPr>
        </p:nvSpPr>
        <p:spPr>
          <a:xfrm>
            <a:off x="6192000" y="1116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048842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3222000" y="1116000"/>
            <a:ext cx="2700000" cy="1692000"/>
          </a:xfrm>
        </p:spPr>
        <p:txBody>
          <a:bodyPr/>
          <a:lstStyle/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1048843" name="内容占位符1Placeholder1"/>
          <p:cNvSpPr>
            <a:spLocks noGrp="1"/>
          </p:cNvSpPr>
          <p:nvPr>
            <p:ph sz="quarter" idx="14" hasCustomPrompt="1"/>
          </p:nvPr>
        </p:nvSpPr>
        <p:spPr>
          <a:xfrm>
            <a:off x="252000" y="1116000"/>
            <a:ext cx="270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</p:txBody>
      </p:sp>
      <p:sp>
        <p:nvSpPr>
          <p:cNvPr id="1048844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1288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表格Title&amp;1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7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08" name="表格占位符TablePlaceholder"/>
          <p:cNvSpPr>
            <a:spLocks noGrp="1"/>
          </p:cNvSpPr>
          <p:nvPr>
            <p:ph type="tbl" sz="quarter" idx="11" hasCustomPrompt="1"/>
          </p:nvPr>
        </p:nvSpPr>
        <p:spPr>
          <a:xfrm>
            <a:off x="252414" y="1116000"/>
            <a:ext cx="8640763" cy="36000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表格图标插入表格。</a:t>
            </a:r>
            <a:r>
              <a:rPr lang="en-US" altLang="zh-CN" dirty="0"/>
              <a:t>Click the icon to insert a tabl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</a:p>
        </p:txBody>
      </p:sp>
      <p:sp>
        <p:nvSpPr>
          <p:cNvPr id="1048809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2065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Only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50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48851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27472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背景Dark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21" name="隐藏LogoHided"/>
          <p:cNvSpPr/>
          <p:nvPr userDrawn="1"/>
        </p:nvSpPr>
        <p:spPr>
          <a:xfrm>
            <a:off x="7884000" y="0"/>
            <a:ext cx="1260000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>
              <a:solidFill>
                <a:schemeClr val="bg1"/>
              </a:solidFill>
            </a:endParaRPr>
          </a:p>
        </p:txBody>
      </p:sp>
      <p:sp>
        <p:nvSpPr>
          <p:cNvPr id="1048822" name="深色图片占位符Dark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4400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250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深色背景图片。</a:t>
            </a:r>
            <a:r>
              <a:rPr lang="en-US" altLang="zh-CN" dirty="0"/>
              <a:t>Click the icon to insert a dark background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04882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824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825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  <p:sp>
        <p:nvSpPr>
          <p:cNvPr id="1048826" name="Logo_WhiteLetter"/>
          <p:cNvSpPr>
            <a:spLocks noGrp="1"/>
          </p:cNvSpPr>
          <p:nvPr>
            <p:ph type="pic" sz="quarter" idx="15" hasCustomPrompt="1"/>
          </p:nvPr>
        </p:nvSpPr>
        <p:spPr>
          <a:xfrm>
            <a:off x="7956000" y="360000"/>
            <a:ext cx="936000" cy="5112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050" baseline="0"/>
            </a:lvl1pPr>
          </a:lstStyle>
          <a:p>
            <a:r>
              <a:rPr lang="zh-CN" altLang="en-US" dirty="0"/>
              <a:t>白字</a:t>
            </a:r>
            <a:r>
              <a:rPr lang="en-US" altLang="zh-CN" dirty="0"/>
              <a:t>Logo</a:t>
            </a:r>
            <a:br>
              <a:rPr lang="en-US" altLang="zh-CN" dirty="0"/>
            </a:br>
            <a:r>
              <a:rPr lang="en-US" altLang="zh-CN" dirty="0" err="1"/>
              <a:t>WhiteLetterLogo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20596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页自定义插图TitleSlideCustom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0" name="标题页背景图CustomBackgroundPicture4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5144400"/>
          </a:xfrm>
          <a:noFill/>
        </p:spPr>
        <p:txBody>
          <a:bodyPr anchor="t" anchorCtr="1">
            <a:normAutofit/>
          </a:bodyPr>
          <a:lstStyle>
            <a:lvl1pPr algn="l">
              <a:lnSpc>
                <a:spcPct val="125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本幻灯片中心的图标可插入背景图片，若背景图为深色，请将标题、部门、日期文本改为白色。</a:t>
            </a:r>
            <a:br>
              <a:rPr lang="en-US" altLang="zh-CN" dirty="0"/>
            </a:br>
            <a:r>
              <a:rPr lang="en-US" altLang="zh-CN" dirty="0"/>
              <a:t>Click the icon in the center of this slide to insert a picture as background, if the background is dark, please change text color to white.</a:t>
            </a:r>
            <a:endParaRPr lang="zh-CN" altLang="en-US" dirty="0"/>
          </a:p>
        </p:txBody>
      </p:sp>
      <p:sp>
        <p:nvSpPr>
          <p:cNvPr id="1048611" name="Logo与飘带图片Logo&amp;Ribbon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72200"/>
            <a:ext cx="9144000" cy="25704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algn="l">
              <a:lnSpc>
                <a:spcPct val="150000"/>
              </a:lnSpc>
              <a:defRPr sz="14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请保留</a:t>
            </a:r>
            <a:r>
              <a:rPr lang="en-US" altLang="zh-CN" dirty="0"/>
              <a:t>Logo</a:t>
            </a:r>
            <a:r>
              <a:rPr lang="zh-CN" altLang="en-US" dirty="0"/>
              <a:t>与飘带图片。</a:t>
            </a:r>
            <a:r>
              <a:rPr lang="en-US" altLang="zh-CN" dirty="0"/>
              <a:t>Do not delete logo &amp; ribbon pleas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1048612" name="日期占位符DateTextFrame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3168001"/>
            <a:ext cx="4104000" cy="360362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日期文本 </a:t>
            </a:r>
            <a:r>
              <a:rPr lang="en-US" altLang="zh-CN" dirty="0"/>
              <a:t>Date Text</a:t>
            </a:r>
            <a:endParaRPr lang="zh-CN" altLang="en-US" dirty="0"/>
          </a:p>
        </p:txBody>
      </p:sp>
      <p:sp>
        <p:nvSpPr>
          <p:cNvPr id="1048613" name="部门占位符DepartmentTextFrame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2808000"/>
            <a:ext cx="4104000" cy="3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单击此处输入部门文本 </a:t>
            </a:r>
            <a:r>
              <a:rPr lang="en-US" altLang="zh-CN" dirty="0"/>
              <a:t>Department Text</a:t>
            </a:r>
            <a:endParaRPr lang="zh-CN" altLang="en-US" dirty="0"/>
          </a:p>
        </p:txBody>
      </p:sp>
      <p:sp>
        <p:nvSpPr>
          <p:cNvPr id="1048614" name="副标题占位符TitleTextFrame"/>
          <p:cNvSpPr>
            <a:spLocks noGrp="1"/>
          </p:cNvSpPr>
          <p:nvPr>
            <p:ph type="subTitle" idx="1" hasCustomPrompt="1"/>
          </p:nvPr>
        </p:nvSpPr>
        <p:spPr>
          <a:xfrm>
            <a:off x="468000" y="1728000"/>
            <a:ext cx="6732000" cy="46800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 dirty="0"/>
              <a:t>单击此处输入副标题文本 </a:t>
            </a:r>
            <a:r>
              <a:rPr lang="en-US" altLang="zh-CN" dirty="0"/>
              <a:t>Sub-title Text</a:t>
            </a:r>
            <a:endParaRPr lang="zh-CN" altLang="en-US" dirty="0"/>
          </a:p>
        </p:txBody>
      </p:sp>
      <p:sp>
        <p:nvSpPr>
          <p:cNvPr id="1048615" name="主标题占位符TitleTextFrame"/>
          <p:cNvSpPr>
            <a:spLocks noGrp="1"/>
          </p:cNvSpPr>
          <p:nvPr>
            <p:ph type="ctrTitle" hasCustomPrompt="1"/>
          </p:nvPr>
        </p:nvSpPr>
        <p:spPr>
          <a:xfrm>
            <a:off x="468000" y="1080000"/>
            <a:ext cx="6732000" cy="648000"/>
          </a:xfrm>
        </p:spPr>
        <p:txBody>
          <a:bodyPr anchor="b">
            <a:noAutofit/>
          </a:bodyPr>
          <a:lstStyle>
            <a:lvl1pPr algn="l">
              <a:defRPr sz="3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输入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44173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spel&#10;&#10;Automatisch gegenereerde beschrijving">
            <a:extLst>
              <a:ext uri="{FF2B5EF4-FFF2-40B4-BE49-F238E27FC236}">
                <a16:creationId xmlns:a16="http://schemas.microsoft.com/office/drawing/2014/main" id="{F2C57918-C794-5443-AD6A-6629916A5C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151" y="315224"/>
            <a:ext cx="8756099" cy="4187700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4400" y="878189"/>
            <a:ext cx="7239000" cy="3392823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F56E23"/>
              </a:buClr>
              <a:buFontTx/>
              <a:buBlip>
                <a:blip r:embed="rId3"/>
              </a:buBlip>
              <a:defRPr sz="18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800080" indent="-342892">
              <a:buClr>
                <a:srgbClr val="F56E23"/>
              </a:buClr>
              <a:buFont typeface="Arial" pitchFamily="34" charset="0"/>
              <a:buChar char="•"/>
              <a:defRPr sz="16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257269" indent="-342892">
              <a:buClr>
                <a:srgbClr val="F56E23"/>
              </a:buClr>
              <a:buFont typeface="Arial" pitchFamily="34" charset="0"/>
              <a:buChar char="•"/>
              <a:defRPr sz="15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1714457" indent="-342892">
              <a:buClr>
                <a:srgbClr val="F56E23"/>
              </a:buClr>
              <a:buFont typeface="Arial" pitchFamily="34" charset="0"/>
              <a:buChar char="•"/>
              <a:defRPr sz="1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171646" indent="-342892">
              <a:buClr>
                <a:srgbClr val="F56E23"/>
              </a:buClr>
              <a:buFont typeface="Arial" pitchFamily="34" charset="0"/>
              <a:buChar char="•"/>
              <a:defRPr sz="1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5109212"/>
            <a:ext cx="9144000" cy="3428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8580807" y="4815448"/>
            <a:ext cx="444795" cy="16010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9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646464"/>
              </a:solidFill>
            </a:endParaRPr>
          </a:p>
        </p:txBody>
      </p:sp>
      <p:sp>
        <p:nvSpPr>
          <p:cNvPr id="17" name="Title 13">
            <a:extLst>
              <a:ext uri="{FF2B5EF4-FFF2-40B4-BE49-F238E27FC236}">
                <a16:creationId xmlns:a16="http://schemas.microsoft.com/office/drawing/2014/main" id="{09CA4599-68D3-8A46-8ACE-3E18679FF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793" y="1327"/>
            <a:ext cx="5992428" cy="567084"/>
          </a:xfrm>
          <a:prstGeom prst="rect">
            <a:avLst/>
          </a:prstGeom>
        </p:spPr>
        <p:txBody>
          <a:bodyPr anchor="ctr" anchorCtr="0"/>
          <a:lstStyle>
            <a:lvl1pPr algn="l">
              <a:defRPr sz="1900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A38EE0D-94DE-0E4B-85BD-4AAC32150798}"/>
              </a:ext>
            </a:extLst>
          </p:cNvPr>
          <p:cNvSpPr txBox="1"/>
          <p:nvPr userDrawn="1"/>
        </p:nvSpPr>
        <p:spPr>
          <a:xfrm>
            <a:off x="3226943" y="4810614"/>
            <a:ext cx="2776034" cy="323165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75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0. </a:t>
            </a:r>
            <a:r>
              <a:rPr lang="nl-NL" sz="75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75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75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75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75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75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75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75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75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CC9DEC53-BC4B-2346-AA36-223A1BBF78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54" y="4668206"/>
            <a:ext cx="541297" cy="288900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968A0B9-DD8B-DA4F-AEE8-40CC84B2F4AA}"/>
              </a:ext>
            </a:extLst>
          </p:cNvPr>
          <p:cNvSpPr/>
          <p:nvPr userDrawn="1"/>
        </p:nvSpPr>
        <p:spPr>
          <a:xfrm>
            <a:off x="186754" y="186394"/>
            <a:ext cx="97039" cy="197134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8363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56439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42633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24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" y="530"/>
            <a:ext cx="9142118" cy="5142441"/>
          </a:xfrm>
          <a:prstGeom prst="rect">
            <a:avLst/>
          </a:prstGeom>
        </p:spPr>
      </p:pic>
      <p:sp>
        <p:nvSpPr>
          <p:cNvPr id="1049168" name="标题 1"/>
          <p:cNvSpPr>
            <a:spLocks noGrp="1"/>
          </p:cNvSpPr>
          <p:nvPr>
            <p:ph type="ctrTitle" hasCustomPrompt="1"/>
          </p:nvPr>
        </p:nvSpPr>
        <p:spPr>
          <a:xfrm>
            <a:off x="1143000" y="841772"/>
            <a:ext cx="6858000" cy="1790700"/>
          </a:xfrm>
        </p:spPr>
        <p:txBody>
          <a:bodyPr anchor="b">
            <a:normAutofit/>
          </a:bodyPr>
          <a:lstStyle>
            <a:lvl1pPr algn="l">
              <a:defRPr sz="301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80 pt</a:t>
            </a:r>
            <a:endParaRPr lang="zh-CN" altLang="en-US"/>
          </a:p>
        </p:txBody>
      </p:sp>
      <p:sp>
        <p:nvSpPr>
          <p:cNvPr id="104916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847451"/>
            <a:ext cx="6858000" cy="1095899"/>
          </a:xfrm>
        </p:spPr>
        <p:txBody>
          <a:bodyPr>
            <a:normAutofit/>
          </a:bodyPr>
          <a:lstStyle>
            <a:lvl1pPr marL="0" indent="0" algn="l">
              <a:buNone/>
              <a:defRPr sz="225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2013" indent="0" algn="ctr">
              <a:buNone/>
              <a:defRPr sz="753"/>
            </a:lvl2pPr>
            <a:lvl3pPr marL="344025" indent="0" algn="ctr">
              <a:buNone/>
              <a:defRPr sz="677"/>
            </a:lvl3pPr>
            <a:lvl4pPr marL="516037" indent="0" algn="ctr">
              <a:buNone/>
              <a:defRPr sz="602"/>
            </a:lvl4pPr>
            <a:lvl5pPr marL="688050" indent="0" algn="ctr">
              <a:buNone/>
              <a:defRPr sz="602"/>
            </a:lvl5pPr>
            <a:lvl6pPr marL="860063" indent="0" algn="ctr">
              <a:buNone/>
              <a:defRPr sz="602"/>
            </a:lvl6pPr>
            <a:lvl7pPr marL="1032075" indent="0" algn="ctr">
              <a:buNone/>
              <a:defRPr sz="602"/>
            </a:lvl7pPr>
            <a:lvl8pPr marL="1204087" indent="0" algn="ctr">
              <a:buNone/>
              <a:defRPr sz="602"/>
            </a:lvl8pPr>
            <a:lvl9pPr marL="1376100" indent="0" algn="ctr">
              <a:buNone/>
              <a:defRPr sz="602"/>
            </a:lvl9pPr>
          </a:lstStyle>
          <a:p>
            <a:r>
              <a:rPr lang="en-US" altLang="zh-CN"/>
              <a:t>Subhead for headline size 60 pt</a:t>
            </a:r>
          </a:p>
        </p:txBody>
      </p:sp>
      <p:sp>
        <p:nvSpPr>
          <p:cNvPr id="1049170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6579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86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" y="530"/>
            <a:ext cx="9142118" cy="5142441"/>
          </a:xfrm>
          <a:prstGeom prst="rect">
            <a:avLst/>
          </a:prstGeom>
        </p:spPr>
      </p:pic>
      <p:sp>
        <p:nvSpPr>
          <p:cNvPr id="1049094" name="标题 1"/>
          <p:cNvSpPr>
            <a:spLocks noGrp="1"/>
          </p:cNvSpPr>
          <p:nvPr>
            <p:ph type="title" hasCustomPrompt="1"/>
          </p:nvPr>
        </p:nvSpPr>
        <p:spPr>
          <a:xfrm>
            <a:off x="628650" y="858970"/>
            <a:ext cx="7886700" cy="409046"/>
          </a:xfrm>
        </p:spPr>
        <p:txBody>
          <a:bodyPr>
            <a:normAutofit/>
          </a:bodyPr>
          <a:lstStyle>
            <a:lvl1pPr>
              <a:defRPr sz="180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48 pt</a:t>
            </a:r>
            <a:endParaRPr lang="zh-CN" altLang="en-US"/>
          </a:p>
        </p:txBody>
      </p:sp>
      <p:sp>
        <p:nvSpPr>
          <p:cNvPr id="1049095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</a:p>
          <a:p>
            <a:pPr lvl="5"/>
            <a:r>
              <a:rPr lang="en-US" altLang="zh-CN"/>
              <a:t>Sixth level</a:t>
            </a:r>
          </a:p>
          <a:p>
            <a:pPr lvl="6"/>
            <a:r>
              <a:rPr lang="en-US" altLang="zh-CN"/>
              <a:t>Seventh level</a:t>
            </a:r>
          </a:p>
          <a:p>
            <a:pPr lvl="7"/>
            <a:r>
              <a:rPr lang="en-US" altLang="zh-CN"/>
              <a:t>Eighth level</a:t>
            </a:r>
          </a:p>
          <a:p>
            <a:pPr lvl="8"/>
            <a:r>
              <a:rPr lang="en-US" altLang="zh-CN"/>
              <a:t>Ninth level</a:t>
            </a:r>
          </a:p>
        </p:txBody>
      </p:sp>
      <p:sp>
        <p:nvSpPr>
          <p:cNvPr id="104909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212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两栏内容Title&amp;2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4716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76000" cy="3600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1703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81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D16D9526-BF70-9C33-2DBC-ED403F0D9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002" y="360000"/>
            <a:ext cx="935997" cy="510544"/>
          </a:xfrm>
          <a:prstGeom prst="rect">
            <a:avLst/>
          </a:prstGeom>
          <a:noFill/>
        </p:spPr>
      </p:pic>
      <p:sp>
        <p:nvSpPr>
          <p:cNvPr id="4" name="标题占位符TitleTextFrame">
            <a:extLst>
              <a:ext uri="{FF2B5EF4-FFF2-40B4-BE49-F238E27FC236}">
                <a16:creationId xmlns:a16="http://schemas.microsoft.com/office/drawing/2014/main" id="{CC12C104-4EAD-DA4A-DEC2-E62298DCA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9" y="454785"/>
            <a:ext cx="7200000" cy="298800"/>
          </a:xfrm>
          <a:custGeom>
            <a:avLst/>
            <a:gdLst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0 w 7200000"/>
              <a:gd name="connsiteY0" fmla="*/ 511195 h 511200"/>
              <a:gd name="connsiteX1" fmla="*/ 0 w 7200000"/>
              <a:gd name="connsiteY1" fmla="*/ 5 h 5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00000" h="511200" stroke="0" extrusionOk="0">
                <a:moveTo>
                  <a:pt x="7200000" y="511200"/>
                </a:moveTo>
                <a:lnTo>
                  <a:pt x="0" y="511195"/>
                </a:lnTo>
                <a:lnTo>
                  <a:pt x="0" y="5"/>
                </a:lnTo>
                <a:cubicBezTo>
                  <a:pt x="0" y="2"/>
                  <a:pt x="3223550" y="0"/>
                  <a:pt x="7200000" y="0"/>
                </a:cubicBezTo>
                <a:lnTo>
                  <a:pt x="7200000" y="511200"/>
                </a:lnTo>
                <a:close/>
              </a:path>
              <a:path w="7200000" h="511200" fill="none">
                <a:moveTo>
                  <a:pt x="0" y="511195"/>
                </a:moveTo>
                <a:lnTo>
                  <a:pt x="0" y="5"/>
                </a:lnTo>
              </a:path>
            </a:pathLst>
          </a:custGeom>
          <a:ln w="38100" cap="rnd">
            <a:solidFill>
              <a:srgbClr val="FF0000"/>
            </a:solidFill>
          </a:ln>
        </p:spPr>
        <p:txBody>
          <a:bodyPr vert="horz" wrap="none" lIns="91440" tIns="0" rIns="91440" bIns="0" rtlCol="0" anchor="ctr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77122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28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" y="530"/>
            <a:ext cx="9142118" cy="5142441"/>
          </a:xfrm>
          <a:prstGeom prst="rect">
            <a:avLst/>
          </a:prstGeom>
        </p:spPr>
      </p:pic>
      <p:sp>
        <p:nvSpPr>
          <p:cNvPr id="1049172" name="标题 1"/>
          <p:cNvSpPr>
            <a:spLocks noGrp="1"/>
          </p:cNvSpPr>
          <p:nvPr>
            <p:ph type="title" hasCustomPrompt="1"/>
          </p:nvPr>
        </p:nvSpPr>
        <p:spPr>
          <a:xfrm>
            <a:off x="628650" y="858970"/>
            <a:ext cx="7886700" cy="409046"/>
          </a:xfrm>
        </p:spPr>
        <p:txBody>
          <a:bodyPr>
            <a:normAutofit/>
          </a:bodyPr>
          <a:lstStyle>
            <a:lvl1pPr>
              <a:defRPr sz="180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48 pt</a:t>
            </a:r>
            <a:endParaRPr lang="zh-CN" altLang="en-US"/>
          </a:p>
        </p:txBody>
      </p:sp>
      <p:sp>
        <p:nvSpPr>
          <p:cNvPr id="104917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</a:p>
          <a:p>
            <a:pPr lvl="5"/>
            <a:r>
              <a:rPr lang="en-US" altLang="zh-CN"/>
              <a:t>Sixth level</a:t>
            </a:r>
          </a:p>
          <a:p>
            <a:pPr lvl="6"/>
            <a:r>
              <a:rPr lang="en-US" altLang="zh-CN"/>
              <a:t>Seventh level</a:t>
            </a:r>
          </a:p>
          <a:p>
            <a:pPr lvl="7"/>
            <a:r>
              <a:rPr lang="en-US" altLang="zh-CN"/>
              <a:t>Eighth level</a:t>
            </a:r>
          </a:p>
          <a:p>
            <a:pPr lvl="8"/>
            <a:r>
              <a:rPr lang="en-US" altLang="zh-CN"/>
              <a:t>Ninth level</a:t>
            </a:r>
          </a:p>
        </p:txBody>
      </p:sp>
      <p:sp>
        <p:nvSpPr>
          <p:cNvPr id="104917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66360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34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1" y="1063494"/>
            <a:ext cx="9142118" cy="2571221"/>
          </a:xfrm>
          <a:prstGeom prst="rect">
            <a:avLst/>
          </a:prstGeom>
        </p:spPr>
      </p:pic>
      <p:sp>
        <p:nvSpPr>
          <p:cNvPr id="1049182" name="标题 1"/>
          <p:cNvSpPr>
            <a:spLocks noGrp="1"/>
          </p:cNvSpPr>
          <p:nvPr>
            <p:ph type="title" hasCustomPrompt="1"/>
          </p:nvPr>
        </p:nvSpPr>
        <p:spPr>
          <a:xfrm>
            <a:off x="2143272" y="1266928"/>
            <a:ext cx="5857729" cy="2164353"/>
          </a:xfrm>
        </p:spPr>
        <p:txBody>
          <a:bodyPr>
            <a:normAutofit/>
          </a:bodyPr>
          <a:lstStyle>
            <a:lvl1pPr>
              <a:defRPr sz="225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60 pt</a:t>
            </a:r>
            <a:endParaRPr lang="zh-CN" altLang="en-US"/>
          </a:p>
        </p:txBody>
      </p:sp>
      <p:sp>
        <p:nvSpPr>
          <p:cNvPr id="104918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35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36" name="图片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37" name="图片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58" name="直接连接符 15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51050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84" name="标题 1"/>
          <p:cNvSpPr>
            <a:spLocks noGrp="1"/>
          </p:cNvSpPr>
          <p:nvPr>
            <p:ph type="ctrTitle" hasCustomPrompt="1"/>
          </p:nvPr>
        </p:nvSpPr>
        <p:spPr>
          <a:xfrm>
            <a:off x="1143000" y="841772"/>
            <a:ext cx="6858000" cy="1790700"/>
          </a:xfrm>
        </p:spPr>
        <p:txBody>
          <a:bodyPr anchor="b">
            <a:normAutofit/>
          </a:bodyPr>
          <a:lstStyle>
            <a:lvl1pPr algn="l">
              <a:defRPr sz="301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80 pt</a:t>
            </a:r>
            <a:endParaRPr lang="zh-CN" altLang="en-US"/>
          </a:p>
        </p:txBody>
      </p:sp>
      <p:sp>
        <p:nvSpPr>
          <p:cNvPr id="1049185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847451"/>
            <a:ext cx="6858000" cy="1095899"/>
          </a:xfrm>
        </p:spPr>
        <p:txBody>
          <a:bodyPr>
            <a:normAutofit/>
          </a:bodyPr>
          <a:lstStyle>
            <a:lvl1pPr marL="0" indent="0" algn="l">
              <a:buNone/>
              <a:defRPr sz="225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2013" indent="0" algn="ctr">
              <a:buNone/>
              <a:defRPr sz="753"/>
            </a:lvl2pPr>
            <a:lvl3pPr marL="344025" indent="0" algn="ctr">
              <a:buNone/>
              <a:defRPr sz="677"/>
            </a:lvl3pPr>
            <a:lvl4pPr marL="516037" indent="0" algn="ctr">
              <a:buNone/>
              <a:defRPr sz="602"/>
            </a:lvl4pPr>
            <a:lvl5pPr marL="688050" indent="0" algn="ctr">
              <a:buNone/>
              <a:defRPr sz="602"/>
            </a:lvl5pPr>
            <a:lvl6pPr marL="860063" indent="0" algn="ctr">
              <a:buNone/>
              <a:defRPr sz="602"/>
            </a:lvl6pPr>
            <a:lvl7pPr marL="1032075" indent="0" algn="ctr">
              <a:buNone/>
              <a:defRPr sz="602"/>
            </a:lvl7pPr>
            <a:lvl8pPr marL="1204087" indent="0" algn="ctr">
              <a:buNone/>
              <a:defRPr sz="602"/>
            </a:lvl8pPr>
            <a:lvl9pPr marL="1376100" indent="0" algn="ctr">
              <a:buNone/>
              <a:defRPr sz="602"/>
            </a:lvl9pPr>
          </a:lstStyle>
          <a:p>
            <a:r>
              <a:rPr lang="en-US" altLang="zh-CN"/>
              <a:t>Subhead for headline size 60 pt</a:t>
            </a:r>
          </a:p>
        </p:txBody>
      </p:sp>
      <p:sp>
        <p:nvSpPr>
          <p:cNvPr id="104918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38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39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40" name="图片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59" name="直接连接符 7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7241" name="图片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44840" y="3011659"/>
            <a:ext cx="3066113" cy="1982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8293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87" name="标题 1"/>
          <p:cNvSpPr>
            <a:spLocks noGrp="1"/>
          </p:cNvSpPr>
          <p:nvPr>
            <p:ph type="title" hasCustomPrompt="1"/>
          </p:nvPr>
        </p:nvSpPr>
        <p:spPr>
          <a:xfrm>
            <a:off x="628650" y="858970"/>
            <a:ext cx="7886700" cy="409046"/>
          </a:xfrm>
        </p:spPr>
        <p:txBody>
          <a:bodyPr>
            <a:normAutofit/>
          </a:bodyPr>
          <a:lstStyle>
            <a:lvl1pPr>
              <a:defRPr sz="1806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/>
              <a:t>Title chart, Arial, 48 pt</a:t>
            </a:r>
            <a:endParaRPr lang="zh-CN" altLang="en-US"/>
          </a:p>
        </p:txBody>
      </p:sp>
      <p:sp>
        <p:nvSpPr>
          <p:cNvPr id="1049188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</a:p>
          <a:p>
            <a:pPr lvl="5"/>
            <a:r>
              <a:rPr lang="en-US" altLang="zh-CN"/>
              <a:t>Sixth level</a:t>
            </a:r>
          </a:p>
          <a:p>
            <a:pPr lvl="6"/>
            <a:r>
              <a:rPr lang="en-US" altLang="zh-CN"/>
              <a:t>Seventh level</a:t>
            </a:r>
          </a:p>
          <a:p>
            <a:pPr lvl="7"/>
            <a:r>
              <a:rPr lang="en-US" altLang="zh-CN"/>
              <a:t>Eighth level</a:t>
            </a:r>
          </a:p>
          <a:p>
            <a:pPr lvl="8"/>
            <a:r>
              <a:rPr lang="en-US" altLang="zh-CN"/>
              <a:t>Ninth level</a:t>
            </a:r>
          </a:p>
        </p:txBody>
      </p:sp>
      <p:sp>
        <p:nvSpPr>
          <p:cNvPr id="1049189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42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43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44" name="图片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60" name="直接连接符 8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7245" name="图片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9640" y="3933628"/>
            <a:ext cx="2420581" cy="1209872"/>
          </a:xfrm>
          <a:prstGeom prst="rect">
            <a:avLst/>
          </a:prstGeom>
        </p:spPr>
      </p:pic>
      <p:pic>
        <p:nvPicPr>
          <p:cNvPr id="2097246" name="图片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812387" y="2571750"/>
            <a:ext cx="2420581" cy="152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4073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6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21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22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23" name="图片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55" name="直接连接符 15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0792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71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25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26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27" name="图片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56" name="直接连接符 15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41649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Title&amp;1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76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9177" name="内容占位符Placeholder"/>
          <p:cNvSpPr>
            <a:spLocks noGrp="1"/>
          </p:cNvSpPr>
          <p:nvPr>
            <p:ph sz="quarter" idx="12" hasCustomPrompt="1"/>
          </p:nvPr>
        </p:nvSpPr>
        <p:spPr>
          <a:xfrm>
            <a:off x="252000" y="1116000"/>
            <a:ext cx="8640000" cy="3600000"/>
          </a:xfrm>
        </p:spPr>
        <p:txBody>
          <a:bodyPr/>
          <a:lstStyle>
            <a:lvl1pPr>
              <a:buClr>
                <a:schemeClr val="accent1"/>
              </a:buClr>
            </a:lvl1pPr>
          </a:lstStyle>
          <a:p>
            <a:pPr lvl="0"/>
            <a:r>
              <a:rPr lang="zh-CN" altLang="en-US"/>
              <a:t>带符号第一级文本 </a:t>
            </a:r>
            <a:r>
              <a:rPr lang="en-US" altLang="zh-CN"/>
              <a:t>Text with Bullet 1</a:t>
            </a:r>
            <a:endParaRPr lang="zh-CN" altLang="en-US"/>
          </a:p>
          <a:p>
            <a:pPr lvl="1"/>
            <a:r>
              <a:rPr lang="zh-CN" altLang="en-US"/>
              <a:t>带符号第二级文本 </a:t>
            </a:r>
            <a:r>
              <a:rPr lang="en-US" altLang="zh-CN"/>
              <a:t>Text with Bullet 2</a:t>
            </a:r>
            <a:endParaRPr lang="zh-CN" altLang="en-US"/>
          </a:p>
          <a:p>
            <a:pPr lvl="2"/>
            <a:r>
              <a:rPr lang="zh-CN" altLang="en-US"/>
              <a:t>带符号第三级文本 </a:t>
            </a:r>
            <a:r>
              <a:rPr lang="en-US" altLang="zh-CN"/>
              <a:t>Text with Bullet 3</a:t>
            </a:r>
            <a:endParaRPr lang="zh-CN" altLang="en-US"/>
          </a:p>
          <a:p>
            <a:pPr lvl="3"/>
            <a:r>
              <a:rPr lang="zh-CN" altLang="en-US"/>
              <a:t>带编号第一级文本 </a:t>
            </a:r>
            <a:r>
              <a:rPr lang="en-US" altLang="zh-CN"/>
              <a:t>Text with Number 1</a:t>
            </a:r>
            <a:endParaRPr lang="zh-CN" altLang="en-US"/>
          </a:p>
          <a:p>
            <a:pPr lvl="4"/>
            <a:r>
              <a:rPr lang="zh-CN" altLang="en-US"/>
              <a:t>带编号第二级文本 </a:t>
            </a:r>
            <a:r>
              <a:rPr lang="en-US" altLang="zh-CN"/>
              <a:t>Text with Number 2</a:t>
            </a:r>
          </a:p>
          <a:p>
            <a:pPr lvl="5"/>
            <a:r>
              <a:rPr lang="zh-CN" altLang="en-US"/>
              <a:t>带编号第三级文本 </a:t>
            </a:r>
            <a:r>
              <a:rPr lang="en-US" altLang="zh-CN"/>
              <a:t>Text with Number 3</a:t>
            </a:r>
            <a:endParaRPr lang="zh-CN" altLang="en-US"/>
          </a:p>
        </p:txBody>
      </p:sp>
      <p:sp>
        <p:nvSpPr>
          <p:cNvPr id="1049178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/>
              <a:t>单击此处编辑标题文本 </a:t>
            </a:r>
            <a:r>
              <a:rPr lang="en-US" altLang="zh-CN"/>
              <a:t>Title Text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0657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75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972300" y="4767263"/>
            <a:ext cx="2057400" cy="273844"/>
          </a:xfrm>
        </p:spPr>
        <p:txBody>
          <a:bodyPr/>
          <a:lstStyle/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97229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888" y="248730"/>
            <a:ext cx="538689" cy="328640"/>
          </a:xfrm>
          <a:prstGeom prst="rect">
            <a:avLst/>
          </a:prstGeom>
        </p:spPr>
      </p:pic>
      <p:pic>
        <p:nvPicPr>
          <p:cNvPr id="209723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931" y="224764"/>
            <a:ext cx="434461" cy="415883"/>
          </a:xfrm>
          <a:prstGeom prst="rect">
            <a:avLst/>
          </a:prstGeom>
        </p:spPr>
      </p:pic>
      <p:pic>
        <p:nvPicPr>
          <p:cNvPr id="2097231" name="图片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04" y="169947"/>
            <a:ext cx="1956094" cy="543116"/>
          </a:xfrm>
          <a:prstGeom prst="rect">
            <a:avLst/>
          </a:prstGeom>
        </p:spPr>
      </p:pic>
      <p:cxnSp>
        <p:nvCxnSpPr>
          <p:cNvPr id="3145757" name="直接连接符 15"/>
          <p:cNvCxnSpPr>
            <a:cxnSpLocks/>
          </p:cNvCxnSpPr>
          <p:nvPr userDrawn="1"/>
        </p:nvCxnSpPr>
        <p:spPr>
          <a:xfrm>
            <a:off x="8409310" y="286682"/>
            <a:ext cx="0" cy="290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7232" name="Picture 2" descr="A close-up of a decorative frame  Description automatically generated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16681"/>
            <a:ext cx="9180511" cy="707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995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ropped Mobius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2480513"/>
            <a:ext cx="4168800" cy="33239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accent5"/>
                </a:solidFill>
                <a:latin typeface="+mj-lt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99" y="2889280"/>
            <a:ext cx="416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99" y="3447885"/>
            <a:ext cx="4168800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500" b="0" i="0">
                <a:solidFill>
                  <a:schemeClr val="bg1"/>
                </a:solidFill>
                <a:latin typeface="+mj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99" y="4228756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98A975-DE78-28DC-201E-069BF1C86D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E42AB-A77F-A686-EFC3-308DA2E2915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51EEA3-EA5E-E336-4C40-DFE83F91247C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chemeClr val="bg1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chemeClr val="bg1"/>
                </a:solidFill>
              </a:rPr>
            </a:br>
            <a:r>
              <a:rPr lang="en-US" sz="450" spc="0" baseline="0">
                <a:solidFill>
                  <a:schemeClr val="bg1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A20AAC8-C584-28E8-268E-6A47BA4CB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9787"/>
          <a:stretch/>
        </p:blipFill>
        <p:spPr>
          <a:xfrm>
            <a:off x="5534660" y="303609"/>
            <a:ext cx="3356928" cy="81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516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两栏内容Title&amp;2Fram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内容占位符2Placeholder2"/>
          <p:cNvSpPr>
            <a:spLocks noGrp="1"/>
          </p:cNvSpPr>
          <p:nvPr>
            <p:ph sz="quarter" idx="14" hasCustomPrompt="1"/>
          </p:nvPr>
        </p:nvSpPr>
        <p:spPr>
          <a:xfrm>
            <a:off x="252000" y="3024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7" name="内容占位符1Placeholder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692000"/>
          </a:xfrm>
        </p:spPr>
        <p:txBody>
          <a:bodyPr/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38558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ropped Mobius, Dark Green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2480513"/>
            <a:ext cx="4168800" cy="33239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accent6"/>
                </a:solidFill>
                <a:latin typeface="+mj-lt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000" y="2889280"/>
            <a:ext cx="416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000" y="3447900"/>
            <a:ext cx="4168800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500" b="0" i="0">
                <a:solidFill>
                  <a:schemeClr val="bg1"/>
                </a:solidFill>
                <a:latin typeface="+mj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000" y="4228756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4D6220-FFB6-48BC-8EC2-C9F7D79F5EBD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chemeClr val="bg1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chemeClr val="bg1"/>
                </a:solidFill>
              </a:rPr>
            </a:br>
            <a:r>
              <a:rPr lang="en-US" sz="450" spc="0" baseline="0">
                <a:solidFill>
                  <a:schemeClr val="bg1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31C3DA-B48F-F843-F64B-3EE21DC56E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7C8F30-3AAF-7D48-DBEE-44AE25238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16" name="Picture 15" descr="A logo for an annual company&#10;&#10;Description automatically generated">
            <a:extLst>
              <a:ext uri="{FF2B5EF4-FFF2-40B4-BE49-F238E27FC236}">
                <a16:creationId xmlns:a16="http://schemas.microsoft.com/office/drawing/2014/main" id="{01F3BC97-E17A-8B7D-F396-35CC185318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0" y="-231779"/>
            <a:ext cx="3356927" cy="188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994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ore Shape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1A702132-6E06-3C91-86B5-10B0DF8D6C1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1"/>
            <a:ext cx="9142200" cy="3707270"/>
          </a:xfrm>
          <a:custGeom>
            <a:avLst/>
            <a:gdLst>
              <a:gd name="T0" fmla="*/ 1281 w 1281"/>
              <a:gd name="T1" fmla="*/ 0 h 519"/>
              <a:gd name="T2" fmla="*/ 1281 w 1281"/>
              <a:gd name="T3" fmla="*/ 214 h 519"/>
              <a:gd name="T4" fmla="*/ 544 w 1281"/>
              <a:gd name="T5" fmla="*/ 482 h 519"/>
              <a:gd name="T6" fmla="*/ 544 w 1281"/>
              <a:gd name="T7" fmla="*/ 482 h 519"/>
              <a:gd name="T8" fmla="*/ 340 w 1281"/>
              <a:gd name="T9" fmla="*/ 519 h 519"/>
              <a:gd name="T10" fmla="*/ 0 w 1281"/>
              <a:gd name="T11" fmla="*/ 409 h 519"/>
              <a:gd name="T12" fmla="*/ 0 w 1281"/>
              <a:gd name="T13" fmla="*/ 0 h 519"/>
              <a:gd name="T14" fmla="*/ 1281 w 1281"/>
              <a:gd name="T15" fmla="*/ 0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81" h="519">
                <a:moveTo>
                  <a:pt x="1281" y="0"/>
                </a:moveTo>
                <a:cubicBezTo>
                  <a:pt x="1281" y="214"/>
                  <a:pt x="1281" y="214"/>
                  <a:pt x="1281" y="214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481" y="506"/>
                  <a:pt x="412" y="519"/>
                  <a:pt x="340" y="519"/>
                </a:cubicBezTo>
                <a:cubicBezTo>
                  <a:pt x="213" y="519"/>
                  <a:pt x="96" y="478"/>
                  <a:pt x="0" y="409"/>
                </a:cubicBezTo>
                <a:cubicBezTo>
                  <a:pt x="0" y="0"/>
                  <a:pt x="0" y="0"/>
                  <a:pt x="0" y="0"/>
                </a:cubicBezTo>
                <a:lnTo>
                  <a:pt x="12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1358900"/>
            <a:ext cx="5788800" cy="37394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spc="225">
                <a:solidFill>
                  <a:schemeClr val="tx1"/>
                </a:solidFill>
                <a:latin typeface="+mj-lt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99" y="1809000"/>
            <a:ext cx="578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99" y="2367900"/>
            <a:ext cx="4168800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99" y="4228200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3D0884FA-4917-077B-20E9-2955DCC7BC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044300" y="240301"/>
            <a:ext cx="1879198" cy="548099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A8B1FC-A25D-13DB-B5BA-FE31907229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336289-04DB-91A5-8F4F-9BDE0F0119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1C6A25-8C8F-4F06-EE62-1669BAD83361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chemeClr val="accent5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chemeClr val="accent5"/>
                </a:solidFill>
              </a:rPr>
            </a:br>
            <a:r>
              <a:rPr lang="en-US" sz="450" spc="0" baseline="0">
                <a:solidFill>
                  <a:schemeClr val="accent5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</p:spTree>
    <p:extLst>
      <p:ext uri="{BB962C8B-B14F-4D97-AF65-F5344CB8AC3E}">
        <p14:creationId xmlns:p14="http://schemas.microsoft.com/office/powerpoint/2010/main" val="2977441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ore Shape, Dark Gre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1A702132-6E06-3C91-86B5-10B0DF8D6C1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1"/>
            <a:ext cx="9142200" cy="3707270"/>
          </a:xfrm>
          <a:custGeom>
            <a:avLst/>
            <a:gdLst>
              <a:gd name="T0" fmla="*/ 1281 w 1281"/>
              <a:gd name="T1" fmla="*/ 0 h 519"/>
              <a:gd name="T2" fmla="*/ 1281 w 1281"/>
              <a:gd name="T3" fmla="*/ 214 h 519"/>
              <a:gd name="T4" fmla="*/ 544 w 1281"/>
              <a:gd name="T5" fmla="*/ 482 h 519"/>
              <a:gd name="T6" fmla="*/ 544 w 1281"/>
              <a:gd name="T7" fmla="*/ 482 h 519"/>
              <a:gd name="T8" fmla="*/ 340 w 1281"/>
              <a:gd name="T9" fmla="*/ 519 h 519"/>
              <a:gd name="T10" fmla="*/ 0 w 1281"/>
              <a:gd name="T11" fmla="*/ 409 h 519"/>
              <a:gd name="T12" fmla="*/ 0 w 1281"/>
              <a:gd name="T13" fmla="*/ 0 h 519"/>
              <a:gd name="T14" fmla="*/ 1281 w 1281"/>
              <a:gd name="T15" fmla="*/ 0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81" h="519">
                <a:moveTo>
                  <a:pt x="1281" y="0"/>
                </a:moveTo>
                <a:cubicBezTo>
                  <a:pt x="1281" y="214"/>
                  <a:pt x="1281" y="214"/>
                  <a:pt x="1281" y="214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481" y="506"/>
                  <a:pt x="412" y="519"/>
                  <a:pt x="340" y="519"/>
                </a:cubicBezTo>
                <a:cubicBezTo>
                  <a:pt x="213" y="519"/>
                  <a:pt x="96" y="478"/>
                  <a:pt x="0" y="409"/>
                </a:cubicBezTo>
                <a:cubicBezTo>
                  <a:pt x="0" y="0"/>
                  <a:pt x="0" y="0"/>
                  <a:pt x="0" y="0"/>
                </a:cubicBezTo>
                <a:lnTo>
                  <a:pt x="1281" y="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1358900"/>
            <a:ext cx="5788800" cy="37394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spc="225">
                <a:solidFill>
                  <a:schemeClr val="bg1"/>
                </a:solidFill>
                <a:latin typeface="+mj-lt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99" y="1809000"/>
            <a:ext cx="578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99" y="2367900"/>
            <a:ext cx="4168800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99" y="4228200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F1D27C-7D11-B00B-3EC5-7F5DE1E27E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44301" y="240300"/>
            <a:ext cx="1881677" cy="54876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14A172-B915-1FEA-B763-0DDD1BDDF1C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165F16-B463-C98A-5361-1139343E80C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6A3393-4D75-E8CD-FBC9-7AA4DA1A1172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rgbClr val="D0D0D0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rgbClr val="D0D0D0"/>
                </a:solidFill>
              </a:rPr>
            </a:br>
            <a:r>
              <a:rPr lang="en-US" sz="450" spc="0" baseline="0">
                <a:solidFill>
                  <a:srgbClr val="D0D0D0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</p:spTree>
    <p:extLst>
      <p:ext uri="{BB962C8B-B14F-4D97-AF65-F5344CB8AC3E}">
        <p14:creationId xmlns:p14="http://schemas.microsoft.com/office/powerpoint/2010/main" val="1684078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ore Shape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1A702132-6E06-3C91-86B5-10B0DF8D6C1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1"/>
            <a:ext cx="9142200" cy="3707270"/>
          </a:xfrm>
          <a:custGeom>
            <a:avLst/>
            <a:gdLst>
              <a:gd name="T0" fmla="*/ 1281 w 1281"/>
              <a:gd name="T1" fmla="*/ 0 h 519"/>
              <a:gd name="T2" fmla="*/ 1281 w 1281"/>
              <a:gd name="T3" fmla="*/ 214 h 519"/>
              <a:gd name="T4" fmla="*/ 544 w 1281"/>
              <a:gd name="T5" fmla="*/ 482 h 519"/>
              <a:gd name="T6" fmla="*/ 544 w 1281"/>
              <a:gd name="T7" fmla="*/ 482 h 519"/>
              <a:gd name="T8" fmla="*/ 340 w 1281"/>
              <a:gd name="T9" fmla="*/ 519 h 519"/>
              <a:gd name="T10" fmla="*/ 0 w 1281"/>
              <a:gd name="T11" fmla="*/ 409 h 519"/>
              <a:gd name="T12" fmla="*/ 0 w 1281"/>
              <a:gd name="T13" fmla="*/ 0 h 519"/>
              <a:gd name="T14" fmla="*/ 1281 w 1281"/>
              <a:gd name="T15" fmla="*/ 0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81" h="519">
                <a:moveTo>
                  <a:pt x="1281" y="0"/>
                </a:moveTo>
                <a:cubicBezTo>
                  <a:pt x="1281" y="214"/>
                  <a:pt x="1281" y="214"/>
                  <a:pt x="1281" y="214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481" y="506"/>
                  <a:pt x="412" y="519"/>
                  <a:pt x="340" y="519"/>
                </a:cubicBezTo>
                <a:cubicBezTo>
                  <a:pt x="213" y="519"/>
                  <a:pt x="96" y="478"/>
                  <a:pt x="0" y="409"/>
                </a:cubicBezTo>
                <a:cubicBezTo>
                  <a:pt x="0" y="0"/>
                  <a:pt x="0" y="0"/>
                  <a:pt x="0" y="0"/>
                </a:cubicBezTo>
                <a:lnTo>
                  <a:pt x="12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1358900"/>
            <a:ext cx="5788800" cy="37394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0" b="0" i="0" u="none" kern="1200" spc="225" dirty="0">
                <a:solidFill>
                  <a:schemeClr val="tx1"/>
                </a:solidFill>
                <a:latin typeface="+mj-lt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99" y="1809000"/>
            <a:ext cx="578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99" y="2367900"/>
            <a:ext cx="4168800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99" y="4228200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3D0884FA-4917-077B-20E9-2955DCC7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44300" y="240301"/>
            <a:ext cx="1879198" cy="548099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CAF2CF-0CB9-1B61-7A49-4820A37CD9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C6D7B-A5B8-502F-C33A-130A6BEF50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4BC304-FC18-01D3-B988-CA634D7162A5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chemeClr val="bg1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chemeClr val="bg1"/>
                </a:solidFill>
              </a:rPr>
            </a:br>
            <a:r>
              <a:rPr lang="en-US" sz="450" spc="0" baseline="0">
                <a:solidFill>
                  <a:schemeClr val="bg1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</p:spTree>
    <p:extLst>
      <p:ext uri="{BB962C8B-B14F-4D97-AF65-F5344CB8AC3E}">
        <p14:creationId xmlns:p14="http://schemas.microsoft.com/office/powerpoint/2010/main" val="3316526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Ima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4B223104-85DE-FA48-8758-9751AD8D6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2438963"/>
            <a:ext cx="4168800" cy="373949"/>
          </a:xfrm>
        </p:spPr>
        <p:txBody>
          <a:bodyPr wrap="square" anchor="b">
            <a:spAutoFit/>
          </a:bodyPr>
          <a:lstStyle>
            <a:lvl1pPr marL="0" marR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0" b="0" i="0" u="none" kern="1200" spc="225" dirty="0">
                <a:solidFill>
                  <a:schemeClr val="bg1"/>
                </a:solidFill>
                <a:latin typeface="+mj-lt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algn="l" defTabSz="9139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5D16D76C-A25F-3546-982F-DDEB980AB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99" y="2889280"/>
            <a:ext cx="41688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DE51537-39B4-8542-9743-5A2DD1ECF4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99" y="3447885"/>
            <a:ext cx="4168800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6A6ABC-034D-4932-A8F3-E632BE271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99" y="4228756"/>
            <a:ext cx="4168800" cy="12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9776182-6F7C-4E04-9BA7-46E2B83AF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4301" y="240300"/>
            <a:ext cx="1881677" cy="54876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C7849E8-5FDA-8574-F39F-E5C9200944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B7FD7-0ABC-EC3C-AEAE-C1C4DE62BC3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7668D1-50DB-8BC2-E2EF-9EEAD780D221}"/>
              </a:ext>
            </a:extLst>
          </p:cNvPr>
          <p:cNvSpPr txBox="1"/>
          <p:nvPr userDrawn="1"/>
        </p:nvSpPr>
        <p:spPr>
          <a:xfrm>
            <a:off x="404814" y="4880119"/>
            <a:ext cx="54831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50" spc="0" baseline="0">
                <a:solidFill>
                  <a:schemeClr val="bg1"/>
                </a:solidFill>
              </a:rPr>
              <a:t>The information contained in this document is company confidential and proprietary property of Baker Hughes and its affiliates. </a:t>
            </a:r>
            <a:br>
              <a:rPr lang="en-US" sz="450" spc="0" baseline="0">
                <a:solidFill>
                  <a:schemeClr val="bg1"/>
                </a:solidFill>
              </a:rPr>
            </a:br>
            <a:r>
              <a:rPr lang="en-US" sz="450" spc="0" baseline="0">
                <a:solidFill>
                  <a:schemeClr val="bg1"/>
                </a:solidFill>
              </a:rPr>
              <a:t>It is to be used only for the benefit of Baker Hughes and may not be distributed, transmitted, reproduced, altered, or used for any purpose without the express written consent of Baker Hughes.</a:t>
            </a:r>
          </a:p>
        </p:txBody>
      </p:sp>
    </p:spTree>
    <p:extLst>
      <p:ext uri="{BB962C8B-B14F-4D97-AF65-F5344CB8AC3E}">
        <p14:creationId xmlns:p14="http://schemas.microsoft.com/office/powerpoint/2010/main" val="2663687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EB53F50-90B6-4B73-94C5-C0FF9E23802D}"/>
              </a:ext>
            </a:extLst>
          </p:cNvPr>
          <p:cNvSpPr/>
          <p:nvPr userDrawn="1"/>
        </p:nvSpPr>
        <p:spPr>
          <a:xfrm>
            <a:off x="7584508" y="1"/>
            <a:ext cx="1559849" cy="51435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rgbClr val="000000">
                  <a:alpha val="69302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07200" cy="69250"/>
          </a:xfrm>
        </p:spPr>
        <p:txBody>
          <a:bodyPr/>
          <a:lstStyle>
            <a:lvl1pPr>
              <a:defRPr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B8B5F0-88D0-4284-7BCA-41663A78D1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bg1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7" name="Titolo 6">
            <a:extLst>
              <a:ext uri="{FF2B5EF4-FFF2-40B4-BE49-F238E27FC236}">
                <a16:creationId xmlns:a16="http://schemas.microsoft.com/office/drawing/2014/main" id="{D751C7E1-CF71-CDB8-405C-0E49DE3D5491}"/>
              </a:ext>
            </a:extLst>
          </p:cNvPr>
          <p:cNvSpPr txBox="1">
            <a:spLocks/>
          </p:cNvSpPr>
          <p:nvPr userDrawn="1"/>
        </p:nvSpPr>
        <p:spPr>
          <a:xfrm>
            <a:off x="385763" y="242175"/>
            <a:ext cx="4231482" cy="18696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1218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300">
                <a:solidFill>
                  <a:schemeClr val="bg1"/>
                </a:solidFill>
                <a:latin typeface="Poppins Light" pitchFamily="2" charset="77"/>
                <a:ea typeface="+mj-ea"/>
                <a:cs typeface="Poppins Light" pitchFamily="2" charset="77"/>
              </a:defRPr>
            </a:lvl1pPr>
          </a:lstStyle>
          <a:p>
            <a:r>
              <a:rPr lang="it-IT" sz="1050" spc="0"/>
              <a:t>PROGRESS AT SCA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ABDD10-FE27-FA09-3ABC-8AB2B49019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1642187"/>
            <a:ext cx="6509700" cy="298928"/>
          </a:xfrm>
        </p:spPr>
        <p:txBody>
          <a:bodyPr anchor="ctr" anchorCtr="0"/>
          <a:lstStyle>
            <a:lvl1pPr>
              <a:defRPr sz="2100" spc="225">
                <a:solidFill>
                  <a:schemeClr val="accent5"/>
                </a:solidFill>
              </a:defRPr>
            </a:lvl1pPr>
          </a:lstStyle>
          <a:p>
            <a:r>
              <a:rPr lang="en-US"/>
              <a:t>DIVIDER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7D5FA97-3CF3-2C99-D7A0-EA7DB69C0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5762" y="2384951"/>
            <a:ext cx="4185047" cy="2077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35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If you need a subhead, add here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65AE63E0-87B6-6116-5412-66BF353C3D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9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orient="horz" pos="202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Dark Green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B9BD7E2-8613-02E3-49A7-C20DB44B7D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584508" y="1"/>
            <a:ext cx="1559849" cy="51435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rgbClr val="000000">
                  <a:alpha val="69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1642188"/>
            <a:ext cx="6509700" cy="298928"/>
          </a:xfrm>
        </p:spPr>
        <p:txBody>
          <a:bodyPr anchor="ctr"/>
          <a:lstStyle>
            <a:lvl1pPr>
              <a:defRPr sz="2100" spc="225">
                <a:solidFill>
                  <a:schemeClr val="accent4"/>
                </a:solidFill>
              </a:defRPr>
            </a:lvl1pPr>
          </a:lstStyle>
          <a:p>
            <a:r>
              <a:rPr lang="en-US"/>
              <a:t>DIVID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E4AFCF-D318-47F1-9433-394885B74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4130A-12D0-CF8F-48E5-4D1D0D7B7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tx1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E3AB2B-EB7A-9DA6-34A1-70DB4F902AF1}"/>
              </a:ext>
            </a:extLst>
          </p:cNvPr>
          <p:cNvSpPr txBox="1"/>
          <p:nvPr userDrawn="1"/>
        </p:nvSpPr>
        <p:spPr>
          <a:xfrm>
            <a:off x="521494" y="4781507"/>
            <a:ext cx="4572936" cy="6925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450">
                <a:solidFill>
                  <a:schemeClr val="tx1"/>
                </a:solidFill>
              </a:rPr>
              <a:t>Copyright 2024 Baker Hughes Company. All rights reserved.</a:t>
            </a:r>
          </a:p>
        </p:txBody>
      </p:sp>
      <p:sp>
        <p:nvSpPr>
          <p:cNvPr id="4" name="Titolo 6">
            <a:extLst>
              <a:ext uri="{FF2B5EF4-FFF2-40B4-BE49-F238E27FC236}">
                <a16:creationId xmlns:a16="http://schemas.microsoft.com/office/drawing/2014/main" id="{0292B79D-1DD5-2F1D-40A7-5990DB89BA17}"/>
              </a:ext>
            </a:extLst>
          </p:cNvPr>
          <p:cNvSpPr txBox="1">
            <a:spLocks/>
          </p:cNvSpPr>
          <p:nvPr userDrawn="1"/>
        </p:nvSpPr>
        <p:spPr>
          <a:xfrm>
            <a:off x="385763" y="242175"/>
            <a:ext cx="4231482" cy="18696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1218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300">
                <a:solidFill>
                  <a:schemeClr val="bg1"/>
                </a:solidFill>
                <a:latin typeface="Poppins Light" pitchFamily="2" charset="77"/>
                <a:ea typeface="+mj-ea"/>
                <a:cs typeface="Poppins Light" pitchFamily="2" charset="77"/>
              </a:defRPr>
            </a:lvl1pPr>
          </a:lstStyle>
          <a:p>
            <a:r>
              <a:rPr lang="it-IT" sz="1050" spc="0">
                <a:solidFill>
                  <a:schemeClr val="tx1"/>
                </a:solidFill>
              </a:rPr>
              <a:t>PROGRESS AT SCA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5E15144F-0937-0036-DE7A-58355F8CBC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2" y="2384951"/>
            <a:ext cx="4185047" cy="2077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35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If you need a subhead, add here</a:t>
            </a:r>
          </a:p>
        </p:txBody>
      </p:sp>
    </p:spTree>
    <p:extLst>
      <p:ext uri="{BB962C8B-B14F-4D97-AF65-F5344CB8AC3E}">
        <p14:creationId xmlns:p14="http://schemas.microsoft.com/office/powerpoint/2010/main" val="961053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24">
          <p15:clr>
            <a:srgbClr val="FBAE40"/>
          </p15:clr>
        </p15:guide>
        <p15:guide id="2" orient="horz" pos="247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8" y="1282500"/>
            <a:ext cx="83349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FD674-4BFF-B8A4-FC53-7FE4D0B2C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99025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Dark Green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0" y="1282500"/>
            <a:ext cx="83349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E4AFCF-D318-47F1-9433-394885B74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9C0F7-74D9-F6B2-25AE-C54EAE2FB2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601827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Impact Statem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8" y="1485000"/>
            <a:ext cx="8334900" cy="30375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0CBB2A-D79F-4386-9118-80467BA32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00" y="1147500"/>
            <a:ext cx="8334900" cy="196453"/>
          </a:xfrm>
        </p:spPr>
        <p:txBody>
          <a:bodyPr/>
          <a:lstStyle>
            <a:lvl1pPr marL="0" indent="0">
              <a:buNone/>
              <a:defRPr sz="1050">
                <a:latin typeface="+mj-lt"/>
                <a:cs typeface="Poppins Light" panose="00000400000000000000" pitchFamily="2" charset="0"/>
              </a:defRPr>
            </a:lvl1pPr>
            <a:lvl2pPr marL="129561" indent="0">
              <a:buNone/>
              <a:defRPr/>
            </a:lvl2pPr>
            <a:lvl3pPr marL="260135" indent="0">
              <a:buNone/>
              <a:defRPr/>
            </a:lvl3pPr>
            <a:lvl4pPr marL="389696" indent="0">
              <a:buNone/>
              <a:defRPr/>
            </a:lvl4pPr>
            <a:lvl5pPr marL="519257" indent="0">
              <a:buNone/>
              <a:defRPr/>
            </a:lvl5pPr>
          </a:lstStyle>
          <a:p>
            <a:pPr lvl="0"/>
            <a:r>
              <a:rPr lang="en-US"/>
              <a:t>Impact state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B3FB4B8-4066-559E-2229-DA44EC9C3A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1929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、内容和图片Title&amp;1Frame&amp;1Pictur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186000"/>
            <a:ext cx="9144000" cy="1958400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250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图片。</a:t>
            </a:r>
            <a:r>
              <a:rPr lang="en-US" altLang="zh-CN" dirty="0"/>
              <a:t>Click the icon to insert a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6" name="灯片编号占位符SlideNumber"/>
          <p:cNvSpPr>
            <a:spLocks noGrp="1"/>
          </p:cNvSpPr>
          <p:nvPr>
            <p:ph type="sldNum" sz="quarter" idx="10"/>
          </p:nvPr>
        </p:nvSpPr>
        <p:spPr>
          <a:xfrm>
            <a:off x="7452000" y="4824000"/>
            <a:ext cx="1440000" cy="216000"/>
          </a:xfrm>
        </p:spPr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内容占位符Placeholder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8640000" cy="1944000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3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27539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Impact Statement, Dark Green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 b="0" i="0">
                <a:latin typeface="Poppins Light" pitchFamily="2" charset="77"/>
                <a:cs typeface="Poppins Light" pitchFamily="2" charset="77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0" y="1485000"/>
            <a:ext cx="8334900" cy="30375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0CBB2A-D79F-4386-9118-80467BA32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00" y="1147500"/>
            <a:ext cx="8334900" cy="196453"/>
          </a:xfrm>
        </p:spPr>
        <p:txBody>
          <a:bodyPr/>
          <a:lstStyle>
            <a:lvl1pPr marL="0" indent="0">
              <a:buNone/>
              <a:defRPr sz="1050">
                <a:latin typeface="+mj-lt"/>
              </a:defRPr>
            </a:lvl1pPr>
            <a:lvl2pPr marL="129561" indent="0">
              <a:buNone/>
              <a:defRPr/>
            </a:lvl2pPr>
            <a:lvl3pPr marL="260135" indent="0">
              <a:buNone/>
              <a:defRPr/>
            </a:lvl3pPr>
            <a:lvl4pPr marL="389696" indent="0">
              <a:buNone/>
              <a:defRPr/>
            </a:lvl4pPr>
            <a:lvl5pPr marL="519257" indent="0">
              <a:buNone/>
              <a:defRPr/>
            </a:lvl5pPr>
          </a:lstStyle>
          <a:p>
            <a:pPr lvl="0"/>
            <a:r>
              <a:rPr lang="en-US"/>
              <a:t>Impact state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A821A6-4014-40AD-9C08-D9B5C00C56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3FD614-BCF0-4325-A6A3-6A405CB077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56117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8" y="1282500"/>
            <a:ext cx="39663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104F070-2238-B2DA-1B4C-14FC8C1085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3704" y="1282500"/>
            <a:ext cx="39663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D16B134-A2BC-2675-2ECB-76F8191620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2259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72">
          <p15:clr>
            <a:srgbClr val="FBAE40"/>
          </p15:clr>
        </p15:guide>
        <p15:guide id="2" pos="400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Dark Green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0" y="1282500"/>
            <a:ext cx="39663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E4AFCF-D318-47F1-9433-394885B74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3802E42-339B-DDF7-344E-2A081B3620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3600" y="1282500"/>
            <a:ext cx="39663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F7D81A0-6B28-9300-7D0F-8805F4769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60518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72">
          <p15:clr>
            <a:srgbClr val="FBAE40"/>
          </p15:clr>
        </p15:guide>
        <p15:guide id="2" pos="400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9" y="1282500"/>
            <a:ext cx="2618999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104F070-2238-B2DA-1B4C-14FC8C1085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3592" y="1282500"/>
            <a:ext cx="2618114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501E299-645F-FC4D-C57A-0550A11E79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1380" y="1282500"/>
            <a:ext cx="2618999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CA24BD6-5D47-49DC-993A-022572A27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8834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41">
          <p15:clr>
            <a:srgbClr val="FBAE40"/>
          </p15:clr>
        </p15:guide>
        <p15:guide id="2" orient="horz" pos="73">
          <p15:clr>
            <a:srgbClr val="FBAE40"/>
          </p15:clr>
        </p15:guide>
        <p15:guide id="3" pos="2733">
          <p15:clr>
            <a:srgbClr val="FBAE40"/>
          </p15:clr>
        </p15:guide>
        <p15:guide id="4" pos="4943">
          <p15:clr>
            <a:srgbClr val="FBAE40"/>
          </p15:clr>
        </p15:guide>
        <p15:guide id="5" pos="513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Dark Green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0" y="1282500"/>
            <a:ext cx="2619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E4AFCF-D318-47F1-9433-394885B74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3802E42-339B-DDF7-344E-2A081B3620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3189" y="1282500"/>
            <a:ext cx="2619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1A3609A-2D53-4801-A13C-E7A2199966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1379" y="1282500"/>
            <a:ext cx="2619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05285F5-A894-E3A5-71EA-B09C3A328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67971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544">
          <p15:clr>
            <a:srgbClr val="FBAE40"/>
          </p15:clr>
        </p15:guide>
        <p15:guide id="2" pos="2735">
          <p15:clr>
            <a:srgbClr val="FBAE40"/>
          </p15:clr>
        </p15:guide>
        <p15:guide id="3" pos="4944">
          <p15:clr>
            <a:srgbClr val="FBAE40"/>
          </p15:clr>
        </p15:guide>
        <p15:guide id="4" pos="513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8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104F070-2238-B2DA-1B4C-14FC8C1085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52973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501E299-645F-FC4D-C57A-0550A11E79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01028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031F1B6-3490-8F26-48CD-E9331372E7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49082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AF2A6A6-A333-43C5-3AF6-B6C895B2B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0147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31">
          <p15:clr>
            <a:srgbClr val="FBAE40"/>
          </p15:clr>
        </p15:guide>
        <p15:guide id="2" pos="2139">
          <p15:clr>
            <a:srgbClr val="FBAE40"/>
          </p15:clr>
        </p15:guide>
        <p15:guide id="3" pos="3733">
          <p15:clr>
            <a:srgbClr val="FBAE40"/>
          </p15:clr>
        </p15:guide>
        <p15:guide id="4" orient="horz" pos="73">
          <p15:clr>
            <a:srgbClr val="FBAE40"/>
          </p15:clr>
        </p15:guide>
        <p15:guide id="5" pos="3941">
          <p15:clr>
            <a:srgbClr val="FBAE40"/>
          </p15:clr>
        </p15:guide>
        <p15:guide id="6" pos="5536">
          <p15:clr>
            <a:srgbClr val="FBAE40"/>
          </p15:clr>
        </p15:guide>
        <p15:guide id="7" pos="57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Dark Green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1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E4AFCF-D318-47F1-9433-394885B74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3802E42-339B-DDF7-344E-2A081B3620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53000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1A3609A-2D53-4801-A13C-E7A2199966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00999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82E4175-9221-E6B1-5139-C33FD10135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48999" y="1282500"/>
            <a:ext cx="18900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3AB8F70-E909-BCE5-D1CE-43A3A2EE1D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28353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44">
          <p15:clr>
            <a:srgbClr val="FBAE40"/>
          </p15:clr>
        </p15:guide>
        <p15:guide id="2" pos="5536">
          <p15:clr>
            <a:srgbClr val="FBAE40"/>
          </p15:clr>
        </p15:guide>
        <p15:guide id="3" pos="1931">
          <p15:clr>
            <a:srgbClr val="FBAE40"/>
          </p15:clr>
        </p15:guide>
        <p15:guide id="4" pos="2139">
          <p15:clr>
            <a:srgbClr val="FBAE40"/>
          </p15:clr>
        </p15:guide>
        <p15:guide id="5" pos="3733">
          <p15:clr>
            <a:srgbClr val="FBAE40"/>
          </p15:clr>
        </p15:guide>
        <p15:guide id="6" pos="394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t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82B63-C6DB-4E5D-AFD4-13E7CE701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04" y="2400301"/>
            <a:ext cx="8334900" cy="298928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8FC3B-7E8B-4445-A859-6CDED9A69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072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E6DEA9-05AA-4951-A417-FE29B7C16B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918" y="3037500"/>
            <a:ext cx="8334900" cy="1485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A928BC2-2737-4CDA-BAC9-C28350595F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4918" y="405000"/>
            <a:ext cx="8334900" cy="1755000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D1984-8768-D1E2-A4E6-BADF7CA00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3967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32BBB5-5EEA-4B71-9EB8-BAB469142F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5287" y="404812"/>
            <a:ext cx="4178432" cy="4120754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6DB9D7D-2F25-4DF6-8A9F-8BAE075AB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78800" y="1282500"/>
            <a:ext cx="37611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8800" y="405001"/>
            <a:ext cx="37611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A35724C-A606-403F-828B-F00B5C86ED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001" y="741760"/>
            <a:ext cx="2322323" cy="1501378"/>
          </a:xfrm>
        </p:spPr>
        <p:txBody>
          <a:bodyPr/>
          <a:lstStyle>
            <a:lvl1pPr marL="0" indent="0">
              <a:buNone/>
              <a:defRPr sz="2099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pPr lvl="0"/>
            <a:r>
              <a:rPr lang="en-US"/>
              <a:t>Impact statement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072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0"/>
            <a:ext cx="1256878" cy="36655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6DC6F6C-CB4E-0E1E-944C-9CA7A0DEE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1508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32BBB5-5EEA-4B71-9EB8-BAB469142F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1" y="404813"/>
            <a:ext cx="4168800" cy="4333500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6DB9D7D-2F25-4DF6-8A9F-8BAE075AB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5000" y="1282500"/>
            <a:ext cx="37611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37611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A35724C-A606-403F-828B-F00B5C86ED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6100" y="741760"/>
            <a:ext cx="2322000" cy="1501378"/>
          </a:xfrm>
        </p:spPr>
        <p:txBody>
          <a:bodyPr/>
          <a:lstStyle>
            <a:lvl1pPr marL="0" indent="0">
              <a:buNone/>
              <a:defRPr sz="2099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pPr lvl="0"/>
            <a:r>
              <a:rPr lang="en-US"/>
              <a:t>Impact statement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072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475961E-B2A0-6AFF-F7AA-D937A65709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12895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、内容和图片Title&amp;1Frame&amp;1Pictur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249600" y="0"/>
            <a:ext cx="2894400" cy="5144400"/>
          </a:xfrm>
          <a:solidFill>
            <a:schemeClr val="bg1"/>
          </a:solidFill>
        </p:spPr>
        <p:txBody>
          <a:bodyPr anchor="b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None/>
              <a:tabLst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图文框中图片图标插入图片。</a:t>
            </a:r>
            <a:br>
              <a:rPr lang="en-US" altLang="zh-CN" dirty="0"/>
            </a:br>
            <a:r>
              <a:rPr lang="en-US" altLang="zh-CN" dirty="0"/>
              <a:t>Click the icon to insert a picture.</a:t>
            </a:r>
            <a:br>
              <a:rPr lang="en-US" altLang="zh-CN" dirty="0"/>
            </a:br>
            <a:r>
              <a:rPr lang="zh-CN" altLang="en-US" dirty="0"/>
              <a:t>上述提示在幻灯片放映或打印时不会被显示。</a:t>
            </a:r>
            <a:endParaRPr lang="en-US" altLang="zh-CN" dirty="0"/>
          </a:p>
          <a:p>
            <a:r>
              <a:rPr lang="en-US" altLang="zh-CN" dirty="0"/>
              <a:t>The prompts above will not be displayed during the slide show or printed.</a:t>
            </a:r>
            <a:endParaRPr lang="zh-CN" altLang="en-US" dirty="0"/>
          </a:p>
        </p:txBody>
      </p:sp>
      <p:sp>
        <p:nvSpPr>
          <p:cNvPr id="6" name="灯片编号占位符SlideNumber"/>
          <p:cNvSpPr>
            <a:spLocks noGrp="1"/>
          </p:cNvSpPr>
          <p:nvPr>
            <p:ph type="sldNum" sz="quarter" idx="10"/>
          </p:nvPr>
        </p:nvSpPr>
        <p:spPr>
          <a:xfrm>
            <a:off x="7452000" y="4824000"/>
            <a:ext cx="1440000" cy="216000"/>
          </a:xfrm>
        </p:spPr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内容占位符Placeholder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5760000" cy="3600000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4" name="标题占位符TitleTextFrame"/>
          <p:cNvSpPr>
            <a:spLocks noGrp="1"/>
          </p:cNvSpPr>
          <p:nvPr>
            <p:ph type="title" hasCustomPrompt="1"/>
          </p:nvPr>
        </p:nvSpPr>
        <p:spPr>
          <a:xfrm>
            <a:off x="252000" y="454785"/>
            <a:ext cx="5760000" cy="321627"/>
          </a:xfrm>
        </p:spPr>
        <p:txBody>
          <a:bodyPr/>
          <a:lstStyle/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284511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6DB9D7D-2F25-4DF6-8A9F-8BAE075AB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816" y="1282500"/>
            <a:ext cx="37611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3" y="405001"/>
            <a:ext cx="37611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35586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4572000" y="0"/>
            <a:ext cx="4572001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7ED734D8-CFAB-4AC7-AA06-CF8D78FB3F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A855A33-456E-02FC-8C14-A564603587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77450" y="1282500"/>
            <a:ext cx="3761100" cy="3240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AC8E8B6-AD19-5D07-2052-C149020ABD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2675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-wide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6DB9D7D-2F25-4DF6-8A9F-8BAE075AB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816" y="1282500"/>
            <a:ext cx="4762800" cy="324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3" y="405001"/>
            <a:ext cx="47628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45603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5574600" y="0"/>
            <a:ext cx="35694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112190C-238D-AE62-3DB2-56EB4914F9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79600" y="405000"/>
            <a:ext cx="2759400" cy="41175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80BEA55-F578-B72A-366B-8B67253E81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FCAE1D05-30F1-D4AB-A408-85BBBC322E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784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r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6DB9D7D-2F25-4DF6-8A9F-8BAE075AB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816" y="1282500"/>
            <a:ext cx="5764500" cy="3240000"/>
          </a:xfrm>
        </p:spPr>
        <p:txBody>
          <a:bodyPr/>
          <a:lstStyle>
            <a:lvl1pPr>
              <a:spcAft>
                <a:spcPts val="450"/>
              </a:spcAft>
              <a:defRPr/>
            </a:lvl1pPr>
            <a:lvl2pPr>
              <a:spcAft>
                <a:spcPts val="450"/>
              </a:spcAft>
              <a:defRPr/>
            </a:lvl2pPr>
            <a:lvl3pPr>
              <a:spcAft>
                <a:spcPts val="450"/>
              </a:spcAft>
              <a:defRPr/>
            </a:lvl3pPr>
            <a:lvl4pPr>
              <a:spcAft>
                <a:spcPts val="450"/>
              </a:spcAft>
              <a:defRPr/>
            </a:lvl4pPr>
            <a:lvl5pPr>
              <a:spcAft>
                <a:spcPts val="45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3" y="405001"/>
            <a:ext cx="57645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55620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6576300" y="0"/>
            <a:ext cx="25677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9594B989-4E3C-4A96-A62F-B8E14A62FF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4700" y="405000"/>
            <a:ext cx="1825200" cy="4117500"/>
          </a:xfrm>
        </p:spPr>
        <p:txBody>
          <a:bodyPr/>
          <a:lstStyle>
            <a:lvl1pPr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  <a:lvl2pPr>
              <a:spcAft>
                <a:spcPts val="450"/>
              </a:spcAft>
              <a:defRPr sz="900">
                <a:solidFill>
                  <a:schemeClr val="bg1"/>
                </a:solidFill>
              </a:defRPr>
            </a:lvl2pPr>
            <a:lvl3pPr>
              <a:spcAft>
                <a:spcPts val="450"/>
              </a:spcAft>
              <a:defRPr sz="900">
                <a:solidFill>
                  <a:schemeClr val="bg1"/>
                </a:solidFill>
              </a:defRPr>
            </a:lvl3pPr>
            <a:lvl4pPr>
              <a:spcAft>
                <a:spcPts val="450"/>
              </a:spcAft>
              <a:defRPr sz="900">
                <a:solidFill>
                  <a:schemeClr val="bg1"/>
                </a:solidFill>
              </a:defRPr>
            </a:lvl4pPr>
            <a:lvl5pPr>
              <a:spcAft>
                <a:spcPts val="45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B565A27-8F10-DC04-0060-97C0AE1E0B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C837FE10-5459-ABF3-4CD8-1157A465FD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03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1"/>
            <a:ext cx="65502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477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7359287" y="0"/>
            <a:ext cx="17847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385416-E344-4FF6-B852-75FBDCBC4D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5000" y="1282500"/>
            <a:ext cx="6550200" cy="324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9A251B9-B5FE-4E83-BEF6-961108724F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64287" y="405000"/>
            <a:ext cx="974700" cy="4117500"/>
          </a:xfr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8A330F-91FB-69A1-4AC7-AB8382AC2B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BECD9471-52B3-7519-D7C2-3C63BEC40A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64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ba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6" y="405001"/>
            <a:ext cx="31077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63477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7360200" y="0"/>
            <a:ext cx="17847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87394E0-DECD-46EE-9ED1-277FB5B294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47315" y="405000"/>
            <a:ext cx="3107700" cy="4117501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385416-E344-4FF6-B852-75FBDCBC4D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815" y="1282500"/>
            <a:ext cx="3107700" cy="324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9A251B9-B5FE-4E83-BEF6-961108724F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7700" y="540000"/>
            <a:ext cx="1042200" cy="3982500"/>
          </a:xfr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DDF2F155-2844-4DA9-97AF-018B14F2D0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4815" y="2683800"/>
            <a:ext cx="2322000" cy="1501378"/>
          </a:xfrm>
        </p:spPr>
        <p:txBody>
          <a:bodyPr anchor="b"/>
          <a:lstStyle>
            <a:lvl1pPr marL="0" indent="0">
              <a:buNone/>
              <a:defRPr sz="2099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pPr lvl="0"/>
            <a:r>
              <a:rPr lang="en-US"/>
              <a:t>Impact statemen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22819A2-9CF2-654E-0D16-E604812B8C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AFA71311-63B5-D5F2-540C-95FF71BF0A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29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r Sideba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5" y="405001"/>
            <a:ext cx="31077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494" y="4781508"/>
            <a:ext cx="5267700" cy="69250"/>
          </a:xfrm>
        </p:spPr>
        <p:txBody>
          <a:bodyPr>
            <a:spAutoFit/>
          </a:bodyPr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6259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/>
        </p:nvSpPr>
        <p:spPr>
          <a:xfrm>
            <a:off x="6279300" y="0"/>
            <a:ext cx="28647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385416-E344-4FF6-B852-75FBDCBC4D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814" y="1282500"/>
            <a:ext cx="3107700" cy="324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9A251B9-B5FE-4E83-BEF6-961108724F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2700" y="405000"/>
            <a:ext cx="1447200" cy="4117501"/>
          </a:xfr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964A79-13A1-3185-63FF-153EE2FDF6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47315" y="405000"/>
            <a:ext cx="3107700" cy="4117501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26">
            <a:extLst>
              <a:ext uri="{FF2B5EF4-FFF2-40B4-BE49-F238E27FC236}">
                <a16:creationId xmlns:a16="http://schemas.microsoft.com/office/drawing/2014/main" id="{F348CD6A-AC7E-3B93-C29F-C053F0CA3D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4815" y="2683800"/>
            <a:ext cx="2322000" cy="1501378"/>
          </a:xfrm>
        </p:spPr>
        <p:txBody>
          <a:bodyPr anchor="b"/>
          <a:lstStyle>
            <a:lvl1pPr marL="0" indent="0">
              <a:buNone/>
              <a:defRPr sz="2099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pPr lvl="0"/>
            <a:r>
              <a:rPr lang="en-US"/>
              <a:t>Impact state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80F932-BD37-757E-E8AC-D8312077DC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9BEC9CD3-4B47-4BFA-F7AB-32FFA1E9ED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584508" y="4655943"/>
            <a:ext cx="1256878" cy="3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2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8B1FA4F5-E80B-48CA-9DAD-7934C7254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9700" y="405001"/>
            <a:ext cx="65502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CA"/>
              <a:t>Slide titl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11383AD8-4D79-417D-8057-2CEBA31E6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9700" y="4781508"/>
            <a:ext cx="4725000" cy="69250"/>
          </a:xfrm>
        </p:spPr>
        <p:txBody>
          <a:bodyPr/>
          <a:lstStyle>
            <a:lvl1pPr>
              <a:defRPr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33" name="Picture 8">
            <a:extLst>
              <a:ext uri="{FF2B5EF4-FFF2-40B4-BE49-F238E27FC236}">
                <a16:creationId xmlns:a16="http://schemas.microsoft.com/office/drawing/2014/main" id="{1309D7DD-C30F-4757-8313-D808660AE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584508" y="4655940"/>
            <a:ext cx="1256878" cy="36655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D32A8B-10C6-4C87-A4B8-F94A39868A0C}"/>
              </a:ext>
            </a:extLst>
          </p:cNvPr>
          <p:cNvSpPr/>
          <p:nvPr userDrawn="1"/>
        </p:nvSpPr>
        <p:spPr>
          <a:xfrm>
            <a:off x="0" y="89453"/>
            <a:ext cx="17847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385416-E344-4FF6-B852-75FBDCBC4D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89700" y="1282500"/>
            <a:ext cx="6550200" cy="3240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9A251B9-B5FE-4E83-BEF6-961108724F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5000" y="405000"/>
            <a:ext cx="1042200" cy="4311900"/>
          </a:xfr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6302DF7-B48E-F06D-FA84-0B8463F42A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4814" y="4781508"/>
            <a:ext cx="135000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chemeClr val="accent2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77513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880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gradFill>
          <a:gsLst>
            <a:gs pos="82000">
              <a:srgbClr val="494197"/>
            </a:gs>
            <a:gs pos="46000">
              <a:srgbClr val="000000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5CECC705-BCB9-3D35-4B8A-E4D7C4ED07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7350" y="726718"/>
            <a:ext cx="5829300" cy="327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4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三栏内容Title&amp;3Fram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Slide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内容占位符3Placeholder3"/>
          <p:cNvSpPr>
            <a:spLocks noGrp="1"/>
          </p:cNvSpPr>
          <p:nvPr>
            <p:ph sz="quarter" idx="16" hasCustomPrompt="1"/>
          </p:nvPr>
        </p:nvSpPr>
        <p:spPr>
          <a:xfrm>
            <a:off x="6192000" y="1116000"/>
            <a:ext cx="2700000" cy="360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  <a:p>
            <a:pPr lvl="3"/>
            <a:r>
              <a:rPr lang="zh-CN" altLang="en-US" dirty="0"/>
              <a:t>带编号第一级文本</a:t>
            </a:r>
          </a:p>
          <a:p>
            <a:pPr lvl="4"/>
            <a:r>
              <a:rPr lang="zh-CN" altLang="en-US" dirty="0"/>
              <a:t>带编号第二级文本</a:t>
            </a:r>
            <a:endParaRPr lang="en-US" altLang="zh-CN" dirty="0"/>
          </a:p>
          <a:p>
            <a:pPr lvl="5"/>
            <a:r>
              <a:rPr lang="zh-CN" altLang="en-US" dirty="0"/>
              <a:t>带编号第三级文本</a:t>
            </a:r>
          </a:p>
        </p:txBody>
      </p:sp>
      <p:sp>
        <p:nvSpPr>
          <p:cNvPr id="9" name="内容占位符2Placeholder2"/>
          <p:cNvSpPr>
            <a:spLocks noGrp="1"/>
          </p:cNvSpPr>
          <p:nvPr>
            <p:ph sz="quarter" idx="15" hasCustomPrompt="1"/>
          </p:nvPr>
        </p:nvSpPr>
        <p:spPr>
          <a:xfrm>
            <a:off x="3222000" y="1116000"/>
            <a:ext cx="2700000" cy="360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en-US" altLang="zh-CN" dirty="0"/>
              <a:t>Text with Number 2</a:t>
            </a:r>
          </a:p>
          <a:p>
            <a:pPr lvl="5"/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8" name="内容占位符1Placeholder1"/>
          <p:cNvSpPr>
            <a:spLocks noGrp="1"/>
          </p:cNvSpPr>
          <p:nvPr>
            <p:ph sz="quarter" idx="14" hasCustomPrompt="1"/>
          </p:nvPr>
        </p:nvSpPr>
        <p:spPr>
          <a:xfrm>
            <a:off x="252000" y="1116000"/>
            <a:ext cx="2700000" cy="360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zh-CN" altLang="en-US" dirty="0"/>
              <a:t>带符号第一级文本</a:t>
            </a:r>
          </a:p>
          <a:p>
            <a:pPr lvl="1"/>
            <a:r>
              <a:rPr lang="zh-CN" altLang="en-US" dirty="0"/>
              <a:t>带符号第二级文本</a:t>
            </a:r>
          </a:p>
          <a:p>
            <a:pPr lvl="2"/>
            <a:r>
              <a:rPr lang="zh-CN" altLang="en-US" dirty="0"/>
              <a:t>带符号第三级文本</a:t>
            </a:r>
          </a:p>
          <a:p>
            <a:pPr lvl="3"/>
            <a:r>
              <a:rPr lang="zh-CN" altLang="en-US" dirty="0"/>
              <a:t>带编号第一级文本</a:t>
            </a:r>
          </a:p>
          <a:p>
            <a:pPr lvl="4"/>
            <a:r>
              <a:rPr lang="zh-CN" altLang="en-US" dirty="0"/>
              <a:t>带编号第二级文本</a:t>
            </a:r>
            <a:endParaRPr lang="en-US" altLang="zh-CN" dirty="0"/>
          </a:p>
          <a:p>
            <a:pPr lvl="5"/>
            <a:r>
              <a:rPr lang="zh-CN" altLang="en-US" dirty="0"/>
              <a:t>带编号第三级文本</a:t>
            </a:r>
          </a:p>
        </p:txBody>
      </p:sp>
      <p:sp>
        <p:nvSpPr>
          <p:cNvPr id="2" name="标题占位符TitleTextFram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标题文本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0545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image" Target="../media/image20.svg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image" Target="../media/image19.png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8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TextTextFrame"/>
          <p:cNvSpPr>
            <a:spLocks noGrp="1"/>
          </p:cNvSpPr>
          <p:nvPr>
            <p:ph type="body" idx="1"/>
          </p:nvPr>
        </p:nvSpPr>
        <p:spPr>
          <a:xfrm>
            <a:off x="468000" y="2808000"/>
            <a:ext cx="4104000" cy="360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pPr lvl="0"/>
            <a:r>
              <a:rPr lang="zh-CN" altLang="en-US" dirty="0"/>
              <a:t>单击此处编辑母版文本样式 </a:t>
            </a:r>
            <a:r>
              <a:rPr lang="en-US" altLang="zh-CN" dirty="0"/>
              <a:t>Text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/>
          </p:nvPr>
        </p:nvSpPr>
        <p:spPr>
          <a:xfrm>
            <a:off x="468000" y="1080000"/>
            <a:ext cx="6732000" cy="64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8785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241" r:id="rId2"/>
    <p:sldLayoutId id="214748433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5" userDrawn="1">
          <p15:clr>
            <a:srgbClr val="F26B43"/>
          </p15:clr>
        </p15:guide>
        <p15:guide id="4" pos="4536" userDrawn="1">
          <p15:clr>
            <a:srgbClr val="F26B43"/>
          </p15:clr>
        </p15:guide>
        <p15:guide id="5" orient="horz" pos="1997" userDrawn="1">
          <p15:clr>
            <a:srgbClr val="F26B43"/>
          </p15:clr>
        </p15:guide>
        <p15:guide id="6" orient="horz" pos="108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惠生调色板WisonColorPalette"/>
          <p:cNvGrpSpPr/>
          <p:nvPr userDrawn="1"/>
        </p:nvGrpSpPr>
        <p:grpSpPr>
          <a:xfrm>
            <a:off x="9360000" y="0"/>
            <a:ext cx="1440000" cy="5144400"/>
            <a:chOff x="9360000" y="72000"/>
            <a:chExt cx="1440000" cy="5144400"/>
          </a:xfrm>
        </p:grpSpPr>
        <p:sp>
          <p:nvSpPr>
            <p:cNvPr id="22" name="说明Prompt"/>
            <p:cNvSpPr txBox="1"/>
            <p:nvPr userDrawn="1"/>
          </p:nvSpPr>
          <p:spPr>
            <a:xfrm>
              <a:off x="9360000" y="72000"/>
              <a:ext cx="1440000" cy="5144400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zh-CN" altLang="en-US" sz="1000" b="1" dirty="0">
                  <a:latin typeface="+mn-lt"/>
                  <a:ea typeface="+mn-ea"/>
                </a:rPr>
                <a:t>惠生色系</a:t>
              </a:r>
              <a:br>
                <a:rPr lang="en-US" altLang="zh-CN" sz="1000" b="1" dirty="0">
                  <a:latin typeface="+mn-lt"/>
                  <a:ea typeface="+mn-ea"/>
                </a:rPr>
              </a:br>
              <a:r>
                <a:rPr lang="en-US" altLang="zh-CN" sz="1000" b="1" dirty="0" err="1">
                  <a:latin typeface="+mn-lt"/>
                  <a:ea typeface="+mn-ea"/>
                </a:rPr>
                <a:t>Wison</a:t>
              </a:r>
              <a:r>
                <a:rPr lang="en-US" altLang="zh-CN" sz="1000" b="1" dirty="0">
                  <a:latin typeface="+mn-lt"/>
                  <a:ea typeface="+mn-ea"/>
                </a:rPr>
                <a:t> Colors Serial</a:t>
              </a:r>
            </a:p>
            <a:p>
              <a:pPr algn="ctr">
                <a:lnSpc>
                  <a:spcPct val="90000"/>
                </a:lnSpc>
                <a:spcBef>
                  <a:spcPts val="300"/>
                </a:spcBef>
              </a:pPr>
              <a:r>
                <a:rPr lang="zh-CN" altLang="en-US" sz="1000" dirty="0">
                  <a:latin typeface="+mn-lt"/>
                  <a:ea typeface="+mn-ea"/>
                </a:rPr>
                <a:t>标志色</a:t>
              </a:r>
              <a:br>
                <a:rPr lang="en-US" altLang="zh-CN" sz="1000" dirty="0">
                  <a:latin typeface="+mn-lt"/>
                  <a:ea typeface="+mn-ea"/>
                </a:rPr>
              </a:br>
              <a:r>
                <a:rPr lang="en-US" altLang="zh-CN" sz="1000" dirty="0">
                  <a:latin typeface="+mn-lt"/>
                  <a:ea typeface="+mn-ea"/>
                </a:rPr>
                <a:t>Logo Colors</a:t>
              </a:r>
            </a:p>
            <a:p>
              <a:pPr algn="ctr">
                <a:lnSpc>
                  <a:spcPct val="90000"/>
                </a:lnSpc>
                <a:spcBef>
                  <a:spcPts val="3000"/>
                </a:spcBef>
              </a:pPr>
              <a:r>
                <a:rPr lang="zh-CN" altLang="en-US" sz="1000" dirty="0">
                  <a:latin typeface="+mn-lt"/>
                  <a:ea typeface="+mn-ea"/>
                </a:rPr>
                <a:t>辅助色</a:t>
              </a:r>
              <a:br>
                <a:rPr lang="en-US" altLang="zh-CN" sz="1000" dirty="0">
                  <a:latin typeface="+mn-lt"/>
                  <a:ea typeface="+mn-ea"/>
                </a:rPr>
              </a:br>
              <a:r>
                <a:rPr lang="en-US" altLang="zh-CN" sz="1000" dirty="0">
                  <a:latin typeface="+mn-lt"/>
                  <a:ea typeface="+mn-ea"/>
                </a:rPr>
                <a:t>Supplement Colors</a:t>
              </a:r>
            </a:p>
            <a:p>
              <a:pPr algn="just">
                <a:spcBef>
                  <a:spcPts val="17400"/>
                </a:spcBef>
              </a:pPr>
              <a:r>
                <a:rPr lang="zh-CN" altLang="en-US" sz="800" baseline="0" dirty="0">
                  <a:latin typeface="Arial" panose="020B0604020202020204" pitchFamily="34" charset="0"/>
                  <a:ea typeface="微软雅黑" panose="020B0503020204020204" pitchFamily="34" charset="-122"/>
                </a:rPr>
                <a:t>在</a:t>
              </a:r>
              <a:r>
                <a:rPr lang="en-US" altLang="zh-CN" sz="800" baseline="0" dirty="0">
                  <a:latin typeface="Arial" panose="020B0604020202020204" pitchFamily="34" charset="0"/>
                  <a:ea typeface="微软雅黑" panose="020B0503020204020204" pitchFamily="34" charset="-122"/>
                </a:rPr>
                <a:t>PowerPoint 2013</a:t>
              </a:r>
              <a:r>
                <a:rPr lang="zh-CN" altLang="en-US" sz="800" baseline="0" dirty="0">
                  <a:latin typeface="Arial" panose="020B0604020202020204" pitchFamily="34" charset="0"/>
                  <a:ea typeface="微软雅黑" panose="020B0503020204020204" pitchFamily="34" charset="-122"/>
                </a:rPr>
                <a:t>或以上版本中，可用取色器从上面的色块中选择一种颜色来快捷设置颜色。</a:t>
              </a:r>
            </a:p>
            <a:p>
              <a:pPr algn="just">
                <a:lnSpc>
                  <a:spcPct val="90000"/>
                </a:lnSpc>
              </a:pP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</a:rPr>
                <a:t>Pick a color by eyedropper in PowerPoint 2013 (or above) from the color blocks for quickly setting the color.</a:t>
              </a:r>
            </a:p>
            <a:p>
              <a:pPr algn="just">
                <a:spcBef>
                  <a:spcPts val="300"/>
                </a:spcBef>
              </a:pPr>
              <a:r>
                <a:rPr lang="zh-CN" altLang="en-US" sz="800" dirty="0">
                  <a:latin typeface="Arial" panose="020B0604020202020204" pitchFamily="34" charset="0"/>
                  <a:ea typeface="微软雅黑" panose="020B0503020204020204" pitchFamily="34" charset="-122"/>
                </a:rPr>
                <a:t>上述色块和提示在幻灯片放映或打印时不会被显示。</a:t>
              </a:r>
              <a:endParaRPr lang="en-US" altLang="zh-CN" sz="800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algn="just">
                <a:lnSpc>
                  <a:spcPct val="90000"/>
                </a:lnSpc>
              </a:pP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</a:rPr>
                <a:t>The color blocks</a:t>
              </a:r>
              <a:r>
                <a:rPr lang="en-US" altLang="zh-CN" sz="900" baseline="0" dirty="0">
                  <a:latin typeface="Arial" panose="020B0604020202020204" pitchFamily="34" charset="0"/>
                  <a:ea typeface="微软雅黑" panose="020B0503020204020204" pitchFamily="34" charset="-122"/>
                </a:rPr>
                <a:t> &amp; </a:t>
              </a:r>
              <a:r>
                <a:rPr lang="en-US" altLang="zh-CN" sz="900" dirty="0">
                  <a:latin typeface="Arial" panose="020B0604020202020204" pitchFamily="34" charset="0"/>
                  <a:ea typeface="微软雅黑" panose="020B0503020204020204" pitchFamily="34" charset="-122"/>
                </a:rPr>
                <a:t>prompts above will not be displayed during the slide show or printed.</a:t>
              </a:r>
              <a:endPara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grpSp>
          <p:nvGrpSpPr>
            <p:cNvPr id="21" name="辅助色SupplementColors"/>
            <p:cNvGrpSpPr/>
            <p:nvPr userDrawn="1"/>
          </p:nvGrpSpPr>
          <p:grpSpPr>
            <a:xfrm>
              <a:off x="9360000" y="1368000"/>
              <a:ext cx="1440000" cy="2016000"/>
              <a:chOff x="9360000" y="1332000"/>
              <a:chExt cx="1440000" cy="2016000"/>
            </a:xfrm>
          </p:grpSpPr>
          <p:sp>
            <p:nvSpPr>
              <p:cNvPr id="8" name="RGB 255, 163, 0"/>
              <p:cNvSpPr txBox="1"/>
              <p:nvPr userDrawn="1"/>
            </p:nvSpPr>
            <p:spPr>
              <a:xfrm>
                <a:off x="9360000" y="1332000"/>
                <a:ext cx="720000" cy="216000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</a:t>
                </a:r>
                <a:r>
                  <a:rPr lang="en-US" altLang="zh-CN" sz="800" baseline="0" dirty="0">
                    <a:latin typeface="+mn-lt"/>
                    <a:ea typeface="+mn-ea"/>
                  </a:rPr>
                  <a:t> 255, 163, 0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9" name="RGB 203, 96, 21"/>
              <p:cNvSpPr txBox="1"/>
              <p:nvPr userDrawn="1"/>
            </p:nvSpPr>
            <p:spPr>
              <a:xfrm>
                <a:off x="10080000" y="1332000"/>
                <a:ext cx="720000" cy="216000"/>
              </a:xfrm>
              <a:prstGeom prst="rect">
                <a:avLst/>
              </a:prstGeom>
              <a:solidFill>
                <a:srgbClr val="CB6015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203, 96, 21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0" name="RGB 220, 88, 42"/>
              <p:cNvSpPr txBox="1"/>
              <p:nvPr userDrawn="1"/>
            </p:nvSpPr>
            <p:spPr>
              <a:xfrm>
                <a:off x="9360000" y="1692000"/>
                <a:ext cx="720000" cy="216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220, 88, 42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1" name="RGB 171, 35, 40"/>
              <p:cNvSpPr txBox="1"/>
              <p:nvPr userDrawn="1"/>
            </p:nvSpPr>
            <p:spPr>
              <a:xfrm>
                <a:off x="10080000" y="1692000"/>
                <a:ext cx="720000" cy="216000"/>
              </a:xfrm>
              <a:prstGeom prst="rect">
                <a:avLst/>
              </a:prstGeom>
              <a:solidFill>
                <a:srgbClr val="AB2328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171, 35, 40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2" name="RGB 218, 41, 28"/>
              <p:cNvSpPr txBox="1"/>
              <p:nvPr userDrawn="1"/>
            </p:nvSpPr>
            <p:spPr>
              <a:xfrm>
                <a:off x="9360000" y="2052000"/>
                <a:ext cx="720000" cy="216000"/>
              </a:xfrm>
              <a:prstGeom prst="rect">
                <a:avLst/>
              </a:prstGeom>
              <a:solidFill>
                <a:srgbClr val="DA291C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218, 41, 28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3" name="RGB 164, 18, 63"/>
              <p:cNvSpPr txBox="1"/>
              <p:nvPr userDrawn="1"/>
            </p:nvSpPr>
            <p:spPr>
              <a:xfrm>
                <a:off x="10080000" y="2052000"/>
                <a:ext cx="720000" cy="216000"/>
              </a:xfrm>
              <a:prstGeom prst="rect">
                <a:avLst/>
              </a:prstGeom>
              <a:solidFill>
                <a:srgbClr val="A4123F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164, 18, 63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4" name="RGB 172, 20, 90"/>
              <p:cNvSpPr txBox="1"/>
              <p:nvPr userDrawn="1"/>
            </p:nvSpPr>
            <p:spPr>
              <a:xfrm>
                <a:off x="9360000" y="2412000"/>
                <a:ext cx="720000" cy="216000"/>
              </a:xfrm>
              <a:prstGeom prst="rect">
                <a:avLst/>
              </a:prstGeom>
              <a:solidFill>
                <a:srgbClr val="AC145A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172, 20, 90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5" name="RGB 109, 32, 119"/>
              <p:cNvSpPr txBox="1"/>
              <p:nvPr userDrawn="1"/>
            </p:nvSpPr>
            <p:spPr>
              <a:xfrm>
                <a:off x="10080000" y="2412000"/>
                <a:ext cx="720000" cy="216000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109, 32, 119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6" name="RGB 0, 118, 207"/>
              <p:cNvSpPr txBox="1"/>
              <p:nvPr userDrawn="1"/>
            </p:nvSpPr>
            <p:spPr>
              <a:xfrm>
                <a:off x="9360000" y="2772000"/>
                <a:ext cx="720000" cy="216000"/>
              </a:xfrm>
              <a:prstGeom prst="rect">
                <a:avLst/>
              </a:prstGeom>
              <a:solidFill>
                <a:schemeClr val="accent5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0, 118, 207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7" name="RGB 0, 53, 148"/>
              <p:cNvSpPr txBox="1"/>
              <p:nvPr userDrawn="1"/>
            </p:nvSpPr>
            <p:spPr>
              <a:xfrm>
                <a:off x="10080000" y="2772000"/>
                <a:ext cx="720000" cy="216000"/>
              </a:xfrm>
              <a:prstGeom prst="rect">
                <a:avLst/>
              </a:prstGeom>
              <a:solidFill>
                <a:srgbClr val="003594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0, 53, 148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8" name="RGB 60, 219, 192"/>
              <p:cNvSpPr txBox="1"/>
              <p:nvPr userDrawn="1"/>
            </p:nvSpPr>
            <p:spPr>
              <a:xfrm>
                <a:off x="9360000" y="3132000"/>
                <a:ext cx="720000" cy="216000"/>
              </a:xfrm>
              <a:prstGeom prst="rect">
                <a:avLst/>
              </a:prstGeom>
              <a:solidFill>
                <a:schemeClr val="accent4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60, 219, 192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19" name="RGB 0, 113, 125"/>
              <p:cNvSpPr txBox="1"/>
              <p:nvPr userDrawn="1"/>
            </p:nvSpPr>
            <p:spPr>
              <a:xfrm>
                <a:off x="10080000" y="3132000"/>
                <a:ext cx="720000" cy="216000"/>
              </a:xfrm>
              <a:prstGeom prst="rect">
                <a:avLst/>
              </a:prstGeom>
              <a:solidFill>
                <a:srgbClr val="00857D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 0, 133, 125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20" name="标志色LogoColors"/>
            <p:cNvGrpSpPr/>
            <p:nvPr userDrawn="1"/>
          </p:nvGrpSpPr>
          <p:grpSpPr>
            <a:xfrm>
              <a:off x="9360000" y="720000"/>
              <a:ext cx="1440000" cy="216000"/>
              <a:chOff x="9360000" y="1008000"/>
              <a:chExt cx="1440000" cy="216000"/>
            </a:xfrm>
          </p:grpSpPr>
          <p:sp>
            <p:nvSpPr>
              <p:cNvPr id="3" name="RGB 255, 0, 0"/>
              <p:cNvSpPr txBox="1"/>
              <p:nvPr userDrawn="1"/>
            </p:nvSpPr>
            <p:spPr>
              <a:xfrm>
                <a:off x="9360000" y="1008000"/>
                <a:ext cx="720000" cy="216000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</a:t>
                </a:r>
                <a:r>
                  <a:rPr lang="en-US" altLang="zh-CN" sz="800" baseline="0" dirty="0">
                    <a:latin typeface="+mn-lt"/>
                    <a:ea typeface="+mn-ea"/>
                  </a:rPr>
                  <a:t> 255, 0, 0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  <p:sp>
            <p:nvSpPr>
              <p:cNvPr id="7" name="RGB 27, 54, 93"/>
              <p:cNvSpPr txBox="1"/>
              <p:nvPr userDrawn="1"/>
            </p:nvSpPr>
            <p:spPr>
              <a:xfrm>
                <a:off x="10080000" y="1008000"/>
                <a:ext cx="720000" cy="216000"/>
              </a:xfrm>
              <a:prstGeom prst="rect">
                <a:avLst/>
              </a:prstGeom>
              <a:solidFill>
                <a:schemeClr val="tx2"/>
              </a:solidFill>
            </p:spPr>
            <p:txBody>
              <a:bodyPr wrap="none" lIns="36000" tIns="216000" rIns="36000" bIns="0" rtlCol="0">
                <a:noAutofit/>
              </a:bodyPr>
              <a:lstStyle/>
              <a:p>
                <a:pPr algn="just"/>
                <a:r>
                  <a:rPr lang="en-US" altLang="zh-CN" sz="800" dirty="0">
                    <a:latin typeface="+mn-lt"/>
                    <a:ea typeface="+mn-ea"/>
                  </a:rPr>
                  <a:t>RGB</a:t>
                </a:r>
                <a:r>
                  <a:rPr lang="en-US" altLang="zh-CN" sz="800" baseline="0" dirty="0">
                    <a:latin typeface="+mn-lt"/>
                    <a:ea typeface="+mn-ea"/>
                  </a:rPr>
                  <a:t> 27, 54, 93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</p:grpSp>
      <p:pic>
        <p:nvPicPr>
          <p:cNvPr id="5" name="Logo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001" y="360000"/>
            <a:ext cx="935997" cy="510544"/>
          </a:xfrm>
          <a:prstGeom prst="rect">
            <a:avLst/>
          </a:prstGeom>
          <a:noFill/>
        </p:spPr>
      </p:pic>
      <p:sp>
        <p:nvSpPr>
          <p:cNvPr id="6" name="灯片编号占位符SlideNumber"/>
          <p:cNvSpPr>
            <a:spLocks noGrp="1"/>
          </p:cNvSpPr>
          <p:nvPr>
            <p:ph type="sldNum" sz="quarter" idx="4"/>
          </p:nvPr>
        </p:nvSpPr>
        <p:spPr>
          <a:xfrm>
            <a:off x="7452000" y="4824000"/>
            <a:ext cx="1440000" cy="216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fld id="{DD304FB5-87BE-426E-BB22-9AC58353C6F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文本占位符TextTextFrame"/>
          <p:cNvSpPr>
            <a:spLocks noGrp="1"/>
          </p:cNvSpPr>
          <p:nvPr>
            <p:ph type="body" idx="1"/>
          </p:nvPr>
        </p:nvSpPr>
        <p:spPr>
          <a:xfrm>
            <a:off x="252000" y="1116000"/>
            <a:ext cx="8640000" cy="360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/>
          </p:nvPr>
        </p:nvSpPr>
        <p:spPr>
          <a:xfrm>
            <a:off x="251999" y="454785"/>
            <a:ext cx="7200000" cy="298800"/>
          </a:xfrm>
          <a:custGeom>
            <a:avLst/>
            <a:gdLst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" fmla="*/ 0 w 7200000"/>
              <a:gd name="connsiteY0" fmla="*/ 511195 h 511200"/>
              <a:gd name="connsiteX1" fmla="*/ 0 w 7200000"/>
              <a:gd name="connsiteY1" fmla="*/ 5 h 5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00000" h="511200" stroke="0" extrusionOk="0">
                <a:moveTo>
                  <a:pt x="7200000" y="511200"/>
                </a:moveTo>
                <a:lnTo>
                  <a:pt x="0" y="511195"/>
                </a:lnTo>
                <a:lnTo>
                  <a:pt x="0" y="5"/>
                </a:lnTo>
                <a:cubicBezTo>
                  <a:pt x="0" y="2"/>
                  <a:pt x="3223550" y="0"/>
                  <a:pt x="7200000" y="0"/>
                </a:cubicBezTo>
                <a:lnTo>
                  <a:pt x="7200000" y="511200"/>
                </a:lnTo>
                <a:close/>
              </a:path>
              <a:path w="7200000" h="511200" fill="none">
                <a:moveTo>
                  <a:pt x="0" y="511195"/>
                </a:moveTo>
                <a:lnTo>
                  <a:pt x="0" y="5"/>
                </a:lnTo>
              </a:path>
            </a:pathLst>
          </a:custGeom>
          <a:ln w="38100" cap="rnd">
            <a:solidFill>
              <a:schemeClr val="accent1"/>
            </a:solidFill>
          </a:ln>
        </p:spPr>
        <p:txBody>
          <a:bodyPr vert="horz" wrap="none" lIns="91440" tIns="0" rIns="91440" bIns="0" rtlCol="0" anchor="ctr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526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20" r:id="rId2"/>
    <p:sldLayoutId id="2147484227" r:id="rId3"/>
    <p:sldLayoutId id="2147484238" r:id="rId4"/>
    <p:sldLayoutId id="2147484236" r:id="rId5"/>
    <p:sldLayoutId id="2147484221" r:id="rId6"/>
    <p:sldLayoutId id="2147484228" r:id="rId7"/>
    <p:sldLayoutId id="2147484230" r:id="rId8"/>
    <p:sldLayoutId id="2147484234" r:id="rId9"/>
    <p:sldLayoutId id="2147484233" r:id="rId10"/>
    <p:sldLayoutId id="2147484231" r:id="rId11"/>
    <p:sldLayoutId id="2147484232" r:id="rId12"/>
    <p:sldLayoutId id="2147484242" r:id="rId13"/>
    <p:sldLayoutId id="2147484235" r:id="rId14"/>
    <p:sldLayoutId id="2147484243" r:id="rId1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00025" indent="-200025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n"/>
        <a:tabLst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06400" indent="-204788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u"/>
        <a:tabLst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83200" indent="-179388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p"/>
        <a:tabLst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396000" indent="-396000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ea"/>
        <a:buAutoNum type="ea1JpnChsDbPeriod"/>
        <a:tabLst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406800" indent="-273600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lt"/>
        <a:buAutoNum type="arabicPeriod"/>
        <a:tabLst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583200" indent="-259200" algn="l" defTabSz="914400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lt"/>
        <a:buAutoNum type="alphaLcParenR"/>
        <a:tabLst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58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orient="horz" pos="702" userDrawn="1">
          <p15:clr>
            <a:srgbClr val="F26B43"/>
          </p15:clr>
        </p15:guide>
        <p15:guide id="6" orient="horz" pos="302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SlideNumber"/>
          <p:cNvSpPr>
            <a:spLocks noGrp="1"/>
          </p:cNvSpPr>
          <p:nvPr>
            <p:ph type="sldNum" sz="quarter" idx="4"/>
          </p:nvPr>
        </p:nvSpPr>
        <p:spPr>
          <a:xfrm>
            <a:off x="7452000" y="4824000"/>
            <a:ext cx="1440000" cy="216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fld id="{9EBEE3AC-30F5-46C8-873A-0A666A590AD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3" name="文本占位符TextTextbox"/>
          <p:cNvSpPr>
            <a:spLocks noGrp="1"/>
          </p:cNvSpPr>
          <p:nvPr>
            <p:ph type="body" idx="1"/>
          </p:nvPr>
        </p:nvSpPr>
        <p:spPr>
          <a:xfrm>
            <a:off x="252000" y="2736000"/>
            <a:ext cx="4320000" cy="46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 </a:t>
            </a:r>
            <a:r>
              <a:rPr lang="en-US" altLang="zh-CN" dirty="0"/>
              <a:t>Text</a:t>
            </a:r>
            <a:endParaRPr lang="zh-CN" altLang="en-US" dirty="0"/>
          </a:p>
        </p:txBody>
      </p:sp>
      <p:sp>
        <p:nvSpPr>
          <p:cNvPr id="2" name="标题占位符TitleTextbox"/>
          <p:cNvSpPr>
            <a:spLocks noGrp="1"/>
          </p:cNvSpPr>
          <p:nvPr>
            <p:ph type="title"/>
          </p:nvPr>
        </p:nvSpPr>
        <p:spPr>
          <a:xfrm>
            <a:off x="252000" y="208800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40457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6" r:id="rId1"/>
    <p:sldLayoutId id="2147484187" r:id="rId2"/>
    <p:sldLayoutId id="2147484188" r:id="rId3"/>
    <p:sldLayoutId id="2147484189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b="1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58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orient="horz" pos="3026" userDrawn="1">
          <p15:clr>
            <a:srgbClr val="F26B43"/>
          </p15:clr>
        </p15:guide>
        <p15:guide id="6" pos="469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TextTextFrame"/>
          <p:cNvSpPr>
            <a:spLocks noGrp="1"/>
          </p:cNvSpPr>
          <p:nvPr>
            <p:ph type="body" idx="1"/>
          </p:nvPr>
        </p:nvSpPr>
        <p:spPr>
          <a:xfrm>
            <a:off x="468000" y="2808000"/>
            <a:ext cx="4104000" cy="360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pPr lvl="0"/>
            <a:r>
              <a:rPr lang="zh-CN" altLang="en-US" dirty="0"/>
              <a:t>单击此处编辑母版文本样式 </a:t>
            </a:r>
            <a:r>
              <a:rPr lang="en-US" altLang="zh-CN" dirty="0"/>
              <a:t>Text</a:t>
            </a:r>
            <a:endParaRPr lang="zh-CN" altLang="en-US" dirty="0"/>
          </a:p>
        </p:txBody>
      </p:sp>
      <p:sp>
        <p:nvSpPr>
          <p:cNvPr id="2" name="标题占位符TitleTextFrame"/>
          <p:cNvSpPr>
            <a:spLocks noGrp="1"/>
          </p:cNvSpPr>
          <p:nvPr>
            <p:ph type="title"/>
          </p:nvPr>
        </p:nvSpPr>
        <p:spPr>
          <a:xfrm>
            <a:off x="468000" y="1080000"/>
            <a:ext cx="6732000" cy="64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0634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  <p:sldLayoutId id="2147484249" r:id="rId5"/>
    <p:sldLayoutId id="2147484250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2" name="Logo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002" y="360000"/>
            <a:ext cx="935997" cy="510544"/>
          </a:xfrm>
          <a:prstGeom prst="rect">
            <a:avLst/>
          </a:prstGeom>
          <a:noFill/>
        </p:spPr>
      </p:pic>
      <p:sp>
        <p:nvSpPr>
          <p:cNvPr id="1048582" name="灯片编号占位符SlideNumber"/>
          <p:cNvSpPr>
            <a:spLocks noGrp="1"/>
          </p:cNvSpPr>
          <p:nvPr>
            <p:ph type="sldNum" sz="quarter" idx="4"/>
          </p:nvPr>
        </p:nvSpPr>
        <p:spPr>
          <a:xfrm>
            <a:off x="7452000" y="4824000"/>
            <a:ext cx="1440000" cy="216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fld id="{DD304FB5-87BE-426E-BB22-9AC58353C6F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48583" name="文本占位符TextTextFrame"/>
          <p:cNvSpPr>
            <a:spLocks noGrp="1"/>
          </p:cNvSpPr>
          <p:nvPr>
            <p:ph type="body" idx="1"/>
          </p:nvPr>
        </p:nvSpPr>
        <p:spPr>
          <a:xfrm>
            <a:off x="252000" y="1116000"/>
            <a:ext cx="8640000" cy="360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带符号第一级文本 </a:t>
            </a:r>
            <a:r>
              <a:rPr lang="en-US" altLang="zh-CN" dirty="0"/>
              <a:t>Text with Bullet 1</a:t>
            </a:r>
            <a:endParaRPr lang="zh-CN" altLang="en-US" dirty="0"/>
          </a:p>
          <a:p>
            <a:pPr lvl="1"/>
            <a:r>
              <a:rPr lang="zh-CN" altLang="en-US" dirty="0"/>
              <a:t>带符号第二级文本 </a:t>
            </a:r>
            <a:r>
              <a:rPr lang="en-US" altLang="zh-CN" dirty="0"/>
              <a:t>Text with Bullet 2</a:t>
            </a:r>
            <a:endParaRPr lang="zh-CN" altLang="en-US" dirty="0"/>
          </a:p>
          <a:p>
            <a:pPr lvl="2"/>
            <a:r>
              <a:rPr lang="zh-CN" altLang="en-US" dirty="0"/>
              <a:t>带符号第三级文本 </a:t>
            </a:r>
            <a:r>
              <a:rPr lang="en-US" altLang="zh-CN" dirty="0"/>
              <a:t>Text with Bullet 3</a:t>
            </a:r>
            <a:endParaRPr lang="zh-CN" altLang="en-US" dirty="0"/>
          </a:p>
          <a:p>
            <a:pPr lvl="3"/>
            <a:r>
              <a:rPr lang="zh-CN" altLang="en-US" dirty="0"/>
              <a:t>带编号第一级文本 </a:t>
            </a:r>
            <a:r>
              <a:rPr lang="en-US" altLang="zh-CN" dirty="0"/>
              <a:t>Text with Number 1</a:t>
            </a:r>
            <a:endParaRPr lang="zh-CN" altLang="en-US" dirty="0"/>
          </a:p>
          <a:p>
            <a:pPr lvl="4"/>
            <a:r>
              <a:rPr lang="zh-CN" altLang="en-US" dirty="0"/>
              <a:t>带编号第二级文本 </a:t>
            </a:r>
            <a:r>
              <a:rPr lang="en-US" altLang="zh-CN" dirty="0"/>
              <a:t>Text with Number 2</a:t>
            </a:r>
          </a:p>
          <a:p>
            <a:pPr lvl="5"/>
            <a:r>
              <a:rPr lang="zh-CN" altLang="en-US" dirty="0"/>
              <a:t>带编号第三级文本 </a:t>
            </a:r>
            <a:r>
              <a:rPr lang="en-US" altLang="zh-CN" dirty="0"/>
              <a:t>Text with Number 3</a:t>
            </a:r>
            <a:endParaRPr lang="zh-CN" altLang="en-US" dirty="0"/>
          </a:p>
        </p:txBody>
      </p:sp>
      <p:sp>
        <p:nvSpPr>
          <p:cNvPr id="1048584" name="标题占位符TitleTextFrame"/>
          <p:cNvSpPr>
            <a:spLocks noGrp="1"/>
          </p:cNvSpPr>
          <p:nvPr>
            <p:ph type="title"/>
          </p:nvPr>
        </p:nvSpPr>
        <p:spPr>
          <a:xfrm>
            <a:off x="251999" y="454787"/>
            <a:ext cx="7200000" cy="321627"/>
          </a:xfrm>
          <a:custGeom>
            <a:avLst/>
            <a:gdLst>
              <a:gd name="connsiteX0" fmla="*/ 7200000 w 7200000"/>
              <a:gd name="connsiteY0" fmla="*/ 511200 h 511200"/>
              <a:gd name="connsiteX1" fmla="*/ 0 w 7200000"/>
              <a:gd name="connsiteY1" fmla="*/ 511195 h 511200"/>
              <a:gd name="connsiteX2" fmla="*/ 0 w 7200000"/>
              <a:gd name="connsiteY2" fmla="*/ 5 h 511200"/>
              <a:gd name="connsiteX3" fmla="*/ 7200000 w 7200000"/>
              <a:gd name="connsiteY3" fmla="*/ 0 h 511200"/>
              <a:gd name="connsiteX4" fmla="*/ 7200000 w 7200000"/>
              <a:gd name="connsiteY4" fmla="*/ 511200 h 511200"/>
              <a:gd name="connsiteX0-1" fmla="*/ 7200000 w 7200000"/>
              <a:gd name="connsiteY0-2" fmla="*/ 511200 h 511200"/>
              <a:gd name="connsiteX1-3" fmla="*/ 0 w 7200000"/>
              <a:gd name="connsiteY1-4" fmla="*/ 511195 h 511200"/>
              <a:gd name="connsiteX2-5" fmla="*/ 0 w 7200000"/>
              <a:gd name="connsiteY2-6" fmla="*/ 5 h 511200"/>
              <a:gd name="connsiteX3-7" fmla="*/ 7200000 w 7200000"/>
              <a:gd name="connsiteY3-8" fmla="*/ 0 h 511200"/>
              <a:gd name="connsiteX0-9" fmla="*/ 7200000 w 7200000"/>
              <a:gd name="connsiteY0-10" fmla="*/ 511200 h 511200"/>
              <a:gd name="connsiteX1-11" fmla="*/ 0 w 7200000"/>
              <a:gd name="connsiteY1-12" fmla="*/ 511195 h 511200"/>
              <a:gd name="connsiteX2-13" fmla="*/ 0 w 7200000"/>
              <a:gd name="connsiteY2-14" fmla="*/ 5 h 511200"/>
              <a:gd name="connsiteX3-15" fmla="*/ 7200000 w 7200000"/>
              <a:gd name="connsiteY3-16" fmla="*/ 0 h 511200"/>
              <a:gd name="connsiteX4-17" fmla="*/ 7200000 w 7200000"/>
              <a:gd name="connsiteY4-18" fmla="*/ 511200 h 511200"/>
              <a:gd name="connsiteX0-19" fmla="*/ 7200000 w 7200000"/>
              <a:gd name="connsiteY0-20" fmla="*/ 511200 h 511200"/>
              <a:gd name="connsiteX1-21" fmla="*/ 0 w 7200000"/>
              <a:gd name="connsiteY1-22" fmla="*/ 511195 h 511200"/>
              <a:gd name="connsiteX2-23" fmla="*/ 0 w 7200000"/>
              <a:gd name="connsiteY2-24" fmla="*/ 5 h 511200"/>
              <a:gd name="connsiteX0-25" fmla="*/ 7200000 w 7200000"/>
              <a:gd name="connsiteY0-26" fmla="*/ 511200 h 511200"/>
              <a:gd name="connsiteX1-27" fmla="*/ 0 w 7200000"/>
              <a:gd name="connsiteY1-28" fmla="*/ 511195 h 511200"/>
              <a:gd name="connsiteX2-29" fmla="*/ 0 w 7200000"/>
              <a:gd name="connsiteY2-30" fmla="*/ 5 h 511200"/>
              <a:gd name="connsiteX3-31" fmla="*/ 7200000 w 7200000"/>
              <a:gd name="connsiteY3-32" fmla="*/ 0 h 511200"/>
              <a:gd name="connsiteX4-33" fmla="*/ 7200000 w 7200000"/>
              <a:gd name="connsiteY4-34" fmla="*/ 511200 h 511200"/>
              <a:gd name="connsiteX0-35" fmla="*/ 0 w 7200000"/>
              <a:gd name="connsiteY0-36" fmla="*/ 511195 h 511200"/>
              <a:gd name="connsiteX1-37" fmla="*/ 0 w 7200000"/>
              <a:gd name="connsiteY1-38" fmla="*/ 5 h 511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7200000" h="511200" stroke="0" extrusionOk="0">
                <a:moveTo>
                  <a:pt x="7200000" y="511200"/>
                </a:moveTo>
                <a:lnTo>
                  <a:pt x="0" y="511195"/>
                </a:lnTo>
                <a:lnTo>
                  <a:pt x="0" y="5"/>
                </a:lnTo>
                <a:cubicBezTo>
                  <a:pt x="0" y="2"/>
                  <a:pt x="3223550" y="0"/>
                  <a:pt x="7200000" y="0"/>
                </a:cubicBezTo>
                <a:lnTo>
                  <a:pt x="7200000" y="511200"/>
                </a:lnTo>
                <a:close/>
              </a:path>
              <a:path w="7200000" h="511200" fill="none">
                <a:moveTo>
                  <a:pt x="0" y="511195"/>
                </a:moveTo>
                <a:lnTo>
                  <a:pt x="0" y="5"/>
                </a:lnTo>
              </a:path>
            </a:pathLst>
          </a:custGeom>
          <a:ln w="38100" cap="rnd">
            <a:solidFill>
              <a:schemeClr val="accent1"/>
            </a:solidFill>
          </a:ln>
        </p:spPr>
        <p:txBody>
          <a:bodyPr vert="horz" wrap="none" lIns="91440" tIns="0" rIns="91440" bIns="0" rtlCol="0" anchor="ctr">
            <a:noAutofit/>
          </a:bodyPr>
          <a:lstStyle/>
          <a:p>
            <a:r>
              <a:rPr lang="zh-CN" altLang="en-US" dirty="0"/>
              <a:t>单击此处编辑母版标题样式 </a:t>
            </a:r>
            <a:r>
              <a:rPr lang="en-US" altLang="zh-CN" dirty="0"/>
              <a:t>Title Tex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51397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4" r:id="rId13"/>
    <p:sldLayoutId id="2147484265" r:id="rId14"/>
    <p:sldLayoutId id="2147484266" r:id="rId15"/>
    <p:sldLayoutId id="2147484267" r:id="rId16"/>
    <p:sldLayoutId id="2147484268" r:id="rId17"/>
    <p:sldLayoutId id="2147484269" r:id="rId18"/>
    <p:sldLayoutId id="2147484270" r:id="rId19"/>
  </p:sldLayoutIdLst>
  <p:hf hdr="0" ftr="0" dt="0"/>
  <p:txStyles>
    <p:titleStyle>
      <a:lvl1pPr algn="l" defTabSz="913742" rtl="0" eaLnBrk="1" latinLnBrk="0" hangingPunct="1">
        <a:lnSpc>
          <a:spcPct val="95000"/>
        </a:lnSpc>
        <a:spcBef>
          <a:spcPct val="0"/>
        </a:spcBef>
        <a:buNone/>
        <a:defRPr sz="2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00020" indent="-200020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n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06390" indent="-204465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u"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82916" indent="-179066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SzPct val="70000"/>
        <a:buFont typeface="Wingdings" panose="05000000000000000000" pitchFamily="2" charset="2"/>
        <a:buChar char="p"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396230" indent="-396230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ea"/>
        <a:buAutoNum type="ea1JpnChsDbPeriod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407025" indent="-273678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582916" indent="-259073" algn="l" defTabSz="913742" rtl="0" eaLnBrk="1" latinLnBrk="0" hangingPunct="1">
        <a:lnSpc>
          <a:spcPct val="150000"/>
        </a:lnSpc>
        <a:spcBef>
          <a:spcPts val="0"/>
        </a:spcBef>
        <a:buClr>
          <a:schemeClr val="accent1"/>
        </a:buClr>
        <a:buFont typeface="+mj-lt"/>
        <a:buAutoNum type="alphaLcParenR"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3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9" name="标题占位符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1049090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220"/>
            <a:ext cx="7886700" cy="3263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049091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EDED46-4162-43FB-A1C2-1694FE0BD844}" type="datetimeFigureOut">
              <a:rPr lang="zh-CN" altLang="en-US" smtClean="0"/>
              <a:t>2025/10/7</a:t>
            </a:fld>
            <a:endParaRPr lang="zh-CN" altLang="en-US"/>
          </a:p>
        </p:txBody>
      </p:sp>
      <p:sp>
        <p:nvSpPr>
          <p:cNvPr id="1049092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4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909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4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13BC5-5DCD-4891-85E3-169FB21D06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9637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  <p:sldLayoutId id="2147484298" r:id="rId2"/>
    <p:sldLayoutId id="2147484299" r:id="rId3"/>
    <p:sldLayoutId id="2147484300" r:id="rId4"/>
    <p:sldLayoutId id="2147484301" r:id="rId5"/>
    <p:sldLayoutId id="2147484302" r:id="rId6"/>
    <p:sldLayoutId id="2147484303" r:id="rId7"/>
    <p:sldLayoutId id="2147484304" r:id="rId8"/>
    <p:sldLayoutId id="2147484305" r:id="rId9"/>
    <p:sldLayoutId id="2147484306" r:id="rId10"/>
    <p:sldLayoutId id="2147484307" r:id="rId11"/>
  </p:sldLayoutIdLst>
  <p:txStyles>
    <p:titleStyle>
      <a:lvl1pPr algn="l" defTabSz="344025" rtl="0" eaLnBrk="1" latinLnBrk="0" hangingPunct="1">
        <a:lnSpc>
          <a:spcPct val="90000"/>
        </a:lnSpc>
        <a:spcBef>
          <a:spcPct val="0"/>
        </a:spcBef>
        <a:buNone/>
        <a:defRPr sz="16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6006" indent="-86006" algn="l" defTabSz="344025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053" kern="1200">
          <a:solidFill>
            <a:schemeClr val="tx1"/>
          </a:solidFill>
          <a:latin typeface="+mn-lt"/>
          <a:ea typeface="+mn-ea"/>
          <a:cs typeface="+mn-cs"/>
        </a:defRPr>
      </a:lvl1pPr>
      <a:lvl2pPr marL="258019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30031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53" kern="1200">
          <a:solidFill>
            <a:schemeClr val="tx1"/>
          </a:solidFill>
          <a:latin typeface="+mn-lt"/>
          <a:ea typeface="+mn-ea"/>
          <a:cs typeface="+mn-cs"/>
        </a:defRPr>
      </a:lvl3pPr>
      <a:lvl4pPr marL="602044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4pPr>
      <a:lvl5pPr marL="774056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5pPr>
      <a:lvl6pPr marL="946069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6pPr>
      <a:lvl7pPr marL="1118081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7pPr>
      <a:lvl8pPr marL="1290094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8pPr>
      <a:lvl9pPr marL="1462106" indent="-86006" algn="l" defTabSz="344025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6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1pPr>
      <a:lvl2pPr marL="172013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2pPr>
      <a:lvl3pPr marL="344025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3pPr>
      <a:lvl4pPr marL="516037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4pPr>
      <a:lvl5pPr marL="688050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5pPr>
      <a:lvl6pPr marL="860063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6pPr>
      <a:lvl7pPr marL="1032075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7pPr>
      <a:lvl8pPr marL="1204087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8pPr>
      <a:lvl9pPr marL="1376100" algn="l" defTabSz="344025" rtl="0" eaLnBrk="1" latinLnBrk="0" hangingPunct="1">
        <a:defRPr sz="6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5105" y="405001"/>
            <a:ext cx="8334900" cy="2989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CA"/>
              <a:t>Slide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4815" y="4781508"/>
            <a:ext cx="116679" cy="692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450" b="0" spc="-10" baseline="0">
                <a:solidFill>
                  <a:srgbClr val="D0D0D0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DC04FB-F95A-7644-A8D0-8254923AAA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815" y="1282500"/>
            <a:ext cx="8334900" cy="32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  <a:p>
            <a:pPr lvl="5"/>
            <a:r>
              <a:rPr lang="en-US"/>
              <a:t>Sixth level bullet</a:t>
            </a:r>
          </a:p>
          <a:p>
            <a:pPr lvl="6"/>
            <a:r>
              <a:rPr lang="en-US"/>
              <a:t>Seventh level bulle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332EDD-2D31-4A31-B97E-C37BA8A2A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1493" y="4781508"/>
            <a:ext cx="2787773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450" spc="0" baseline="0">
                <a:solidFill>
                  <a:srgbClr val="D0D0D0"/>
                </a:solidFill>
              </a:defRPr>
            </a:lvl1pPr>
          </a:lstStyle>
          <a:p>
            <a:r>
              <a:rPr lang="en-US"/>
              <a:t>Copyright 2024 Baker Hughes Company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85AC49-917A-4E47-803B-64809E37F99D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rcRect/>
          <a:stretch/>
        </p:blipFill>
        <p:spPr>
          <a:xfrm>
            <a:off x="7584509" y="4655940"/>
            <a:ext cx="1256878" cy="36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849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322" r:id="rId14"/>
    <p:sldLayoutId id="2147484323" r:id="rId15"/>
    <p:sldLayoutId id="2147484324" r:id="rId16"/>
    <p:sldLayoutId id="2147484325" r:id="rId17"/>
    <p:sldLayoutId id="2147484326" r:id="rId18"/>
    <p:sldLayoutId id="2147484327" r:id="rId19"/>
    <p:sldLayoutId id="2147484328" r:id="rId20"/>
    <p:sldLayoutId id="2147484329" r:id="rId21"/>
    <p:sldLayoutId id="2147484330" r:id="rId22"/>
    <p:sldLayoutId id="2147484331" r:id="rId23"/>
    <p:sldLayoutId id="2147484332" r:id="rId24"/>
    <p:sldLayoutId id="2147484333" r:id="rId25"/>
    <p:sldLayoutId id="2147484334" r:id="rId26"/>
    <p:sldLayoutId id="2147484335" r:id="rId27"/>
    <p:sldLayoutId id="2147484336" r:id="rId28"/>
    <p:sldLayoutId id="2147484337" r:id="rId29"/>
    <p:sldLayoutId id="2147484338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66" rtl="0" eaLnBrk="1" latinLnBrk="0" hangingPunct="1">
        <a:lnSpc>
          <a:spcPct val="90000"/>
        </a:lnSpc>
        <a:spcBef>
          <a:spcPct val="0"/>
        </a:spcBef>
        <a:buNone/>
        <a:defRPr sz="2100" b="0" i="0" u="none" kern="1200">
          <a:solidFill>
            <a:schemeClr val="tx1"/>
          </a:solidFill>
          <a:latin typeface="Poppins Light" pitchFamily="2" charset="77"/>
          <a:ea typeface="+mj-ea"/>
          <a:cs typeface="Poppins Light" pitchFamily="2" charset="77"/>
        </a:defRPr>
      </a:lvl1pPr>
    </p:titleStyle>
    <p:bodyStyle>
      <a:lvl1pPr marL="129561" indent="-129561" algn="l" defTabSz="913966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900" b="0" i="0" kern="1200">
          <a:solidFill>
            <a:schemeClr val="tx1"/>
          </a:solidFill>
          <a:latin typeface="+mn-lt"/>
          <a:ea typeface="+mn-ea"/>
          <a:cs typeface="Poppins SemiBold" pitchFamily="2" charset="77"/>
        </a:defRPr>
      </a:lvl1pPr>
      <a:lvl2pPr marL="259122" indent="-129561" algn="l" defTabSz="913966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Cambria" panose="02040503050406030204" pitchFamily="18" charset="0"/>
        <a:buChar char="⎻"/>
        <a:defRPr sz="900" kern="1200">
          <a:solidFill>
            <a:schemeClr val="tx1"/>
          </a:solidFill>
          <a:latin typeface="+mn-lt"/>
          <a:ea typeface="+mn-ea"/>
          <a:cs typeface="Poppins" pitchFamily="2" charset="77"/>
        </a:defRPr>
      </a:lvl2pPr>
      <a:lvl3pPr marL="388683" indent="-128549" algn="l" defTabSz="913966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100000"/>
        <a:buFont typeface="Arial"/>
        <a:buChar char="•"/>
        <a:defRPr sz="900" kern="1200">
          <a:solidFill>
            <a:schemeClr val="tx1"/>
          </a:solidFill>
          <a:latin typeface="+mn-lt"/>
          <a:ea typeface="+mn-ea"/>
          <a:cs typeface="Poppins" pitchFamily="2" charset="77"/>
        </a:defRPr>
      </a:lvl3pPr>
      <a:lvl4pPr marL="518245" indent="-128549" algn="l" defTabSz="913966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Cambria Math" panose="02040503050406030204" pitchFamily="18" charset="0"/>
        <a:buChar char="⎯"/>
        <a:defRPr sz="900" kern="1200">
          <a:solidFill>
            <a:schemeClr val="tx1"/>
          </a:solidFill>
          <a:latin typeface="+mn-lt"/>
          <a:ea typeface="+mn-ea"/>
          <a:cs typeface="Poppins" pitchFamily="2" charset="77"/>
        </a:defRPr>
      </a:lvl4pPr>
      <a:lvl5pPr marL="647806" indent="-128549" algn="l" defTabSz="913966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100000"/>
        <a:buFont typeface="Arial"/>
        <a:buChar char="•"/>
        <a:defRPr sz="900" kern="1200">
          <a:solidFill>
            <a:schemeClr val="tx1"/>
          </a:solidFill>
          <a:latin typeface="+mn-lt"/>
          <a:ea typeface="+mn-ea"/>
          <a:cs typeface="Poppins" pitchFamily="2" charset="77"/>
        </a:defRPr>
      </a:lvl5pPr>
      <a:lvl6pPr marL="777367" indent="-129561" algn="l" defTabSz="913966" rtl="0" eaLnBrk="1" latinLnBrk="0" hangingPunct="1">
        <a:lnSpc>
          <a:spcPct val="99000"/>
        </a:lnSpc>
        <a:spcBef>
          <a:spcPts val="0"/>
        </a:spcBef>
        <a:spcAft>
          <a:spcPts val="450"/>
        </a:spcAft>
        <a:buSzPct val="100000"/>
        <a:buFont typeface="Cambria Math" panose="02040503050406030204" pitchFamily="18" charset="0"/>
        <a:buChar char="⎯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6928" indent="-129561" algn="l" defTabSz="913966" rtl="0" eaLnBrk="1" latinLnBrk="0" hangingPunct="1">
        <a:lnSpc>
          <a:spcPct val="99000"/>
        </a:lnSpc>
        <a:spcBef>
          <a:spcPts val="0"/>
        </a:spcBef>
        <a:spcAft>
          <a:spcPts val="450"/>
        </a:spcAft>
        <a:buSzPct val="100000"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36489" indent="-129561" algn="l" defTabSz="913966" rtl="0" eaLnBrk="1" latinLnBrk="0" hangingPunct="1">
        <a:lnSpc>
          <a:spcPct val="99000"/>
        </a:lnSpc>
        <a:spcBef>
          <a:spcPts val="0"/>
        </a:spcBef>
        <a:spcAft>
          <a:spcPts val="375"/>
        </a:spcAft>
        <a:buSzPct val="100000"/>
        <a:buFont typeface="Cambria Math" panose="02040503050406030204" pitchFamily="18" charset="0"/>
        <a:buChar char="⎯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166050" indent="-129561" algn="l" defTabSz="913966" rtl="0" eaLnBrk="1" latinLnBrk="0" hangingPunct="1">
        <a:lnSpc>
          <a:spcPct val="99000"/>
        </a:lnSpc>
        <a:spcBef>
          <a:spcPts val="0"/>
        </a:spcBef>
        <a:spcAft>
          <a:spcPts val="375"/>
        </a:spcAft>
        <a:buSzPct val="10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algn="l" defTabSz="913966" rtl="0" eaLnBrk="1" latinLnBrk="0" hangingPunct="1">
        <a:defRPr sz="1200" kern="1200">
          <a:solidFill>
            <a:schemeClr val="accent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01">
          <p15:clr>
            <a:srgbClr val="F26B43"/>
          </p15:clr>
        </p15:guide>
        <p15:guide id="4" orient="horz" pos="335">
          <p15:clr>
            <a:srgbClr val="F26B43"/>
          </p15:clr>
        </p15:guide>
        <p15:guide id="5" pos="332">
          <p15:clr>
            <a:srgbClr val="F26B43"/>
          </p15:clr>
        </p15:guide>
        <p15:guide id="6" pos="73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0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标题页背景图1BackgroundPicture1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0"/>
            <a:ext cx="9144000" cy="5143500"/>
          </a:xfrm>
        </p:spPr>
      </p:pic>
      <p:sp>
        <p:nvSpPr>
          <p:cNvPr id="3" name="Logo与飘带图片Logo&amp;Ribbon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日期占位符DateTextFrame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October 2025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5" name="部门占位符DepartmentTextFrame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bg1"/>
                </a:solidFill>
              </a:rPr>
              <a:t>WisonNewEnergies</a:t>
            </a:r>
            <a:r>
              <a:rPr lang="en-US" altLang="zh-CN" dirty="0">
                <a:solidFill>
                  <a:schemeClr val="bg1"/>
                </a:solidFill>
              </a:rPr>
              <a:t> - Ran Pu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副标题占位符sub-TitleTextFram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7" name="主标题占位符TitleTextFram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Wison Generation 2e FLNG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2123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7D030B-F834-0790-A5F4-54F3D0A578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2AA818-E2F5-749F-C99B-A5DC71883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304FB5-87BE-426E-BB22-9AC58353C6F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54FEA5F-11DD-0234-5B66-5853915957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- Large electrical driven MR Compressors</a:t>
            </a:r>
            <a:endParaRPr lang="zh-CN" alt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44BD3F-8C8C-AE65-D563-551E856E7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son Generation 2 e-FLNG - 202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19047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874D0-7187-FE98-BBAD-FD1D9188A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59718C5E-1845-FEA3-CFAB-61B920F5D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Wison Generation 2 </a:t>
            </a:r>
            <a:r>
              <a:rPr lang="en-US" altLang="zh-CN" sz="2400" dirty="0" err="1"/>
              <a:t>eFLNG</a:t>
            </a:r>
            <a:r>
              <a:rPr lang="en-US" altLang="zh-CN" sz="2400" dirty="0"/>
              <a:t> – with CCGT and e-Drive </a:t>
            </a:r>
            <a:br>
              <a:rPr lang="en-US" altLang="zh-CN" sz="2400" dirty="0"/>
            </a:br>
            <a:r>
              <a:rPr lang="en-US" altLang="zh-CN" sz="2400" dirty="0"/>
              <a:t>for MR Compressors</a:t>
            </a: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E16E45C5-A1E0-E76B-433D-6B532E05F7C3}"/>
              </a:ext>
            </a:extLst>
          </p:cNvPr>
          <p:cNvGrpSpPr/>
          <p:nvPr/>
        </p:nvGrpSpPr>
        <p:grpSpPr>
          <a:xfrm>
            <a:off x="-530932" y="994581"/>
            <a:ext cx="9478990" cy="4426588"/>
            <a:chOff x="-675253" y="1326108"/>
            <a:chExt cx="12145197" cy="5671678"/>
          </a:xfrm>
        </p:grpSpPr>
        <p:pic>
          <p:nvPicPr>
            <p:cNvPr id="14" name="Picture 3" descr="A blue and red ship with a tower&#10;&#10;AI-generated content may be incorrect.">
              <a:extLst>
                <a:ext uri="{FF2B5EF4-FFF2-40B4-BE49-F238E27FC236}">
                  <a16:creationId xmlns:a16="http://schemas.microsoft.com/office/drawing/2014/main" id="{8E074F3D-D2E7-83C2-2705-8CD2D56B7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675253" y="2059253"/>
              <a:ext cx="8784299" cy="4938533"/>
            </a:xfrm>
            <a:prstGeom prst="rect">
              <a:avLst/>
            </a:prstGeom>
          </p:spPr>
        </p:pic>
        <p:sp>
          <p:nvSpPr>
            <p:cNvPr id="12" name="TextBox 10">
              <a:extLst>
                <a:ext uri="{FF2B5EF4-FFF2-40B4-BE49-F238E27FC236}">
                  <a16:creationId xmlns:a16="http://schemas.microsoft.com/office/drawing/2014/main" id="{C934242F-9587-91D4-B7A1-A5492BE04F38}"/>
                </a:ext>
              </a:extLst>
            </p:cNvPr>
            <p:cNvSpPr txBox="1"/>
            <p:nvPr/>
          </p:nvSpPr>
          <p:spPr>
            <a:xfrm rot="10800000">
              <a:off x="620601" y="2147545"/>
              <a:ext cx="384485" cy="4259975"/>
            </a:xfrm>
            <a:prstGeom prst="rect">
              <a:avLst/>
            </a:prstGeom>
            <a:solidFill>
              <a:srgbClr val="0098C7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eaVert" wrap="square" lIns="34289" tIns="34289" rIns="34289" bIns="34289" numCol="1" spcCol="38100" rtlCol="0" anchor="t">
              <a:spAutoFit/>
            </a:bodyPr>
            <a:lstStyle/>
            <a:p>
              <a:pPr algn="ctr" defTabSz="685783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500" spc="-45" dirty="0">
                  <a:solidFill>
                    <a:schemeClr val="bg1"/>
                  </a:solidFill>
                  <a:latin typeface="Source Sans 3 SemiBold" panose="020B0303030403020204" pitchFamily="34" charset="0"/>
                  <a:sym typeface="Calibri"/>
                </a:rPr>
                <a:t>The Generation 2  e-FLNG</a:t>
              </a:r>
              <a:endParaRPr lang="zh-CN" altLang="en-US" sz="1500" spc="-45" dirty="0">
                <a:solidFill>
                  <a:schemeClr val="bg1"/>
                </a:solidFill>
                <a:latin typeface="Source Sans 3 SemiBold" panose="020B0303030403020204" pitchFamily="34" charset="0"/>
                <a:sym typeface="Calibri"/>
              </a:endParaRPr>
            </a:p>
          </p:txBody>
        </p:sp>
        <p:sp>
          <p:nvSpPr>
            <p:cNvPr id="13" name="Rectangle 4">
              <a:extLst>
                <a:ext uri="{FF2B5EF4-FFF2-40B4-BE49-F238E27FC236}">
                  <a16:creationId xmlns:a16="http://schemas.microsoft.com/office/drawing/2014/main" id="{76928418-2503-D14A-0620-C28FA1D7AE28}"/>
                </a:ext>
              </a:extLst>
            </p:cNvPr>
            <p:cNvSpPr/>
            <p:nvPr/>
          </p:nvSpPr>
          <p:spPr>
            <a:xfrm>
              <a:off x="1005086" y="1854645"/>
              <a:ext cx="10224984" cy="4693226"/>
            </a:xfrm>
            <a:prstGeom prst="rect">
              <a:avLst/>
            </a:prstGeom>
            <a:noFill/>
            <a:ln w="12700">
              <a:solidFill>
                <a:srgbClr val="0098C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zh-CN" altLang="en-US" dirty="0">
                <a:solidFill>
                  <a:srgbClr val="000000"/>
                </a:solidFill>
                <a:latin typeface="Calibri"/>
              </a:endParaRPr>
            </a:p>
          </p:txBody>
        </p:sp>
        <p:pic>
          <p:nvPicPr>
            <p:cNvPr id="15" name="Picture 6" descr="A blue and red ship with a tower&#10;&#10;AI-generated content may be incorrect.">
              <a:extLst>
                <a:ext uri="{FF2B5EF4-FFF2-40B4-BE49-F238E27FC236}">
                  <a16:creationId xmlns:a16="http://schemas.microsoft.com/office/drawing/2014/main" id="{F81695A3-756D-035D-ACA8-455E70391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6624" y="1326108"/>
              <a:ext cx="8043320" cy="43872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7942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6F6FB-5B76-0CF1-358F-42A9C175A9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CB5F91D6-8A5A-5131-DDE5-077AB74E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E-FLNG Power &amp; Heat Supply Architecture</a:t>
            </a:r>
            <a:endParaRPr lang="zh-CN" altLang="en-US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2ECCCB1D-5086-9AEC-821D-20DE416171F0}"/>
              </a:ext>
            </a:extLst>
          </p:cNvPr>
          <p:cNvGrpSpPr/>
          <p:nvPr/>
        </p:nvGrpSpPr>
        <p:grpSpPr>
          <a:xfrm>
            <a:off x="628650" y="1264835"/>
            <a:ext cx="8115529" cy="3756200"/>
            <a:chOff x="838199" y="1686446"/>
            <a:chExt cx="10820705" cy="5008267"/>
          </a:xfrm>
        </p:grpSpPr>
        <p:pic>
          <p:nvPicPr>
            <p:cNvPr id="8" name="Picture 3">
              <a:extLst>
                <a:ext uri="{FF2B5EF4-FFF2-40B4-BE49-F238E27FC236}">
                  <a16:creationId xmlns:a16="http://schemas.microsoft.com/office/drawing/2014/main" id="{2A057049-CF3E-FAA3-063D-8A84BE50C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8199" y="1686446"/>
              <a:ext cx="10820705" cy="5008267"/>
            </a:xfrm>
            <a:prstGeom prst="rect">
              <a:avLst/>
            </a:prstGeom>
          </p:spPr>
        </p:pic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FC6EB386-BC53-81F6-7DA0-C72272278D97}"/>
                </a:ext>
              </a:extLst>
            </p:cNvPr>
            <p:cNvSpPr txBox="1"/>
            <p:nvPr/>
          </p:nvSpPr>
          <p:spPr>
            <a:xfrm>
              <a:off x="7333351" y="5171554"/>
              <a:ext cx="3324225" cy="140311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68580" tIns="34290" rIns="68580" bIns="34290" rtlCol="0" anchor="b">
              <a:noAutofit/>
            </a:bodyPr>
            <a:lstStyle/>
            <a:p>
              <a:pPr algn="ctr"/>
              <a:r>
                <a:rPr lang="en-US" altLang="zh-CN" b="1" u="sng" spc="-45" dirty="0">
                  <a:latin typeface="Arial" panose="020B0604020202020204" pitchFamily="34" charset="0"/>
                  <a:cs typeface="Arial" panose="020B0604020202020204" pitchFamily="34" charset="0"/>
                </a:rPr>
                <a:t>Refrigeration Duty:</a:t>
              </a:r>
            </a:p>
            <a:p>
              <a:pPr algn="ctr"/>
              <a:r>
                <a:rPr lang="en-US" altLang="zh-CN" b="1" spc="-45" dirty="0">
                  <a:latin typeface="Arial" panose="020B0604020202020204" pitchFamily="34" charset="0"/>
                  <a:cs typeface="Arial" panose="020B0604020202020204" pitchFamily="34" charset="0"/>
                </a:rPr>
                <a:t>2x 70MW VFD motor compressor drivers</a:t>
              </a:r>
              <a:endParaRPr lang="zh-CN" altLang="en-US" b="1" spc="-4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2344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BA9851-0497-BF67-73F3-41B2E1A119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7D20E5EA-C8EC-8495-18A7-29070F9C0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9" y="454785"/>
            <a:ext cx="7272329" cy="298800"/>
          </a:xfrm>
        </p:spPr>
        <p:txBody>
          <a:bodyPr/>
          <a:lstStyle/>
          <a:p>
            <a:r>
              <a:rPr lang="en-US" altLang="zh-CN" sz="2400" dirty="0"/>
              <a:t>Wison Generation 2 </a:t>
            </a:r>
            <a:r>
              <a:rPr lang="en-US" altLang="zh-CN" sz="2400" dirty="0" err="1"/>
              <a:t>eFLNG</a:t>
            </a:r>
            <a:r>
              <a:rPr lang="en-US" altLang="zh-CN" sz="2400" dirty="0"/>
              <a:t> – with CCGT and e-Drive for </a:t>
            </a:r>
            <a:br>
              <a:rPr lang="en-US" altLang="zh-CN" sz="2400" dirty="0"/>
            </a:br>
            <a:r>
              <a:rPr lang="en-US" altLang="zh-CN" sz="2400" dirty="0"/>
              <a:t>MR Compressors</a:t>
            </a:r>
            <a:endParaRPr lang="zh-CN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BC830F-7155-EFEA-BCD8-E111C4692F4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8" y="1203325"/>
            <a:ext cx="3046413" cy="3282950"/>
          </a:xfrm>
        </p:spPr>
        <p:txBody>
          <a:bodyPr>
            <a:normAutofit/>
          </a:bodyPr>
          <a:lstStyle/>
          <a:p>
            <a:pPr marL="0" indent="0" fontAlgn="base">
              <a:lnSpc>
                <a:spcPts val="2250"/>
              </a:lnSpc>
              <a:spcBef>
                <a:spcPts val="1000"/>
              </a:spcBef>
              <a:spcAft>
                <a:spcPct val="0"/>
              </a:spcAft>
              <a:buNone/>
            </a:pPr>
            <a:r>
              <a:rPr lang="en-US" altLang="zh-CN" sz="1400" dirty="0"/>
              <a:t>2x70MW E-drive and motor</a:t>
            </a:r>
          </a:p>
          <a:p>
            <a:pPr marL="0" indent="0" fontAlgn="base">
              <a:lnSpc>
                <a:spcPts val="2250"/>
              </a:lnSpc>
              <a:spcBef>
                <a:spcPts val="1000"/>
              </a:spcBef>
              <a:spcAft>
                <a:spcPct val="0"/>
              </a:spcAft>
              <a:buNone/>
            </a:pPr>
            <a:r>
              <a:rPr lang="en-US" altLang="zh-CN" sz="1400" dirty="0"/>
              <a:t>210MW electrical system</a:t>
            </a:r>
            <a:endParaRPr lang="en-US" sz="1400" dirty="0"/>
          </a:p>
          <a:p>
            <a:pPr>
              <a:lnSpc>
                <a:spcPts val="2250"/>
              </a:lnSpc>
            </a:pPr>
            <a:endParaRPr lang="en-US" sz="1425" dirty="0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A14D9120-9E96-CCF3-40BB-66A8CF1BF7EB}"/>
              </a:ext>
            </a:extLst>
          </p:cNvPr>
          <p:cNvGrpSpPr/>
          <p:nvPr/>
        </p:nvGrpSpPr>
        <p:grpSpPr>
          <a:xfrm>
            <a:off x="2351315" y="1448229"/>
            <a:ext cx="6645729" cy="3695271"/>
            <a:chOff x="2352929" y="1000544"/>
            <a:chExt cx="9849089" cy="547645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024E69A-CF46-0B77-0DBB-E05BF621D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52929" y="1250601"/>
              <a:ext cx="9849089" cy="5226400"/>
            </a:xfrm>
            <a:prstGeom prst="rect">
              <a:avLst/>
            </a:prstGeom>
          </p:spPr>
        </p:pic>
        <p:sp>
          <p:nvSpPr>
            <p:cNvPr id="7" name="Rounded Rectangle 10">
              <a:extLst>
                <a:ext uri="{FF2B5EF4-FFF2-40B4-BE49-F238E27FC236}">
                  <a16:creationId xmlns:a16="http://schemas.microsoft.com/office/drawing/2014/main" id="{9160C79D-AF0C-DDDF-2D87-C2459D586F6C}"/>
                </a:ext>
              </a:extLst>
            </p:cNvPr>
            <p:cNvSpPr/>
            <p:nvPr/>
          </p:nvSpPr>
          <p:spPr>
            <a:xfrm>
              <a:off x="2396287" y="2501451"/>
              <a:ext cx="1998151" cy="803047"/>
            </a:xfrm>
            <a:prstGeom prst="roundRect">
              <a:avLst/>
            </a:prstGeom>
            <a:solidFill>
              <a:srgbClr val="06A3FE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5826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40MW STG &amp; Treatment Plant</a:t>
              </a:r>
            </a:p>
          </p:txBody>
        </p:sp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B48F0C3A-B0B0-6014-71DC-32068E7ADA95}"/>
                </a:ext>
              </a:extLst>
            </p:cNvPr>
            <p:cNvSpPr/>
            <p:nvPr/>
          </p:nvSpPr>
          <p:spPr>
            <a:xfrm>
              <a:off x="6525508" y="1000544"/>
              <a:ext cx="1973655" cy="678817"/>
            </a:xfrm>
            <a:prstGeom prst="roundRect">
              <a:avLst/>
            </a:prstGeom>
            <a:solidFill>
              <a:srgbClr val="F1ECA7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5826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E-DMR Modules</a:t>
              </a:r>
            </a:p>
          </p:txBody>
        </p:sp>
        <p:sp>
          <p:nvSpPr>
            <p:cNvPr id="9" name="Rounded Rectangle 13">
              <a:extLst>
                <a:ext uri="{FF2B5EF4-FFF2-40B4-BE49-F238E27FC236}">
                  <a16:creationId xmlns:a16="http://schemas.microsoft.com/office/drawing/2014/main" id="{CFCC8E17-C585-E457-0BB4-5C7E7F8545EA}"/>
                </a:ext>
              </a:extLst>
            </p:cNvPr>
            <p:cNvSpPr/>
            <p:nvPr/>
          </p:nvSpPr>
          <p:spPr>
            <a:xfrm>
              <a:off x="4062054" y="1410991"/>
              <a:ext cx="1857341" cy="803047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5826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5 level E-house</a:t>
              </a:r>
            </a:p>
            <a:p>
              <a:pPr algn="ctr" defTabSz="65826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w/ 140MW VFD</a:t>
              </a:r>
            </a:p>
          </p:txBody>
        </p:sp>
        <p:sp>
          <p:nvSpPr>
            <p:cNvPr id="10" name="Rounded Rectangle 14">
              <a:extLst>
                <a:ext uri="{FF2B5EF4-FFF2-40B4-BE49-F238E27FC236}">
                  <a16:creationId xmlns:a16="http://schemas.microsoft.com/office/drawing/2014/main" id="{C570A4D7-203F-DF36-1671-39F0DFA0F4B7}"/>
                </a:ext>
              </a:extLst>
            </p:cNvPr>
            <p:cNvSpPr/>
            <p:nvPr/>
          </p:nvSpPr>
          <p:spPr>
            <a:xfrm>
              <a:off x="5786580" y="5297393"/>
              <a:ext cx="1626491" cy="803047"/>
            </a:xfrm>
            <a:prstGeom prst="roundRect">
              <a:avLst/>
            </a:prstGeom>
            <a:solidFill>
              <a:srgbClr val="06A3FE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58265"/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210 MW</a:t>
              </a:r>
            </a:p>
            <a:p>
              <a:pPr algn="ctr" defTabSz="658265"/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  <a:ea typeface="宋体" pitchFamily="2" charset="-122"/>
                </a:rPr>
                <a:t>Power Island</a:t>
              </a:r>
            </a:p>
          </p:txBody>
        </p:sp>
        <p:sp>
          <p:nvSpPr>
            <p:cNvPr id="11" name="TextBox 2">
              <a:extLst>
                <a:ext uri="{FF2B5EF4-FFF2-40B4-BE49-F238E27FC236}">
                  <a16:creationId xmlns:a16="http://schemas.microsoft.com/office/drawing/2014/main" id="{C7662157-C366-3FA1-3259-9E6AB233A9A0}"/>
                </a:ext>
              </a:extLst>
            </p:cNvPr>
            <p:cNvSpPr txBox="1"/>
            <p:nvPr/>
          </p:nvSpPr>
          <p:spPr>
            <a:xfrm>
              <a:off x="10515305" y="5563005"/>
              <a:ext cx="1532777" cy="41051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defTabSz="65826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350m x 64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51785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170957"/>
              </p:ext>
            </p:extLst>
          </p:nvPr>
        </p:nvGraphicFramePr>
        <p:xfrm>
          <a:off x="821924" y="1144638"/>
          <a:ext cx="7500824" cy="2857590"/>
        </p:xfrm>
        <a:graphic>
          <a:graphicData uri="http://schemas.openxmlformats.org/drawingml/2006/table">
            <a:tbl>
              <a:tblPr firstRow="1" firstCol="1" bandRow="1">
                <a:tableStyleId>{327F97BB-C833-4FB7-BDE5-3F7075034690}</a:tableStyleId>
              </a:tblPr>
              <a:tblGrid>
                <a:gridCol w="448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74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1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640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0121"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ign of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tice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y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236"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wer system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umulation of many littles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System voltage selection</a:t>
                      </a:r>
                    </a:p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Power management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236"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tor selection</a:t>
                      </a:r>
                      <a:endParaRPr lang="en-GB" altLang="zh-CN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zh-CN" sz="15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inisation</a:t>
                      </a:r>
                      <a:r>
                        <a:rPr lang="en-GB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onshore model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Large capacity</a:t>
                      </a:r>
                    </a:p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High speed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3236"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FD selection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ign freeze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Topology selection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Redundancy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7761"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id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chanical simulation of the motor</a:t>
                      </a:r>
                    </a:p>
                    <a:p>
                      <a:r>
                        <a:rPr lang="en-GB" altLang="zh-CN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ressor skid vibration analysis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Maximum deflection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GB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Skid design</a:t>
                      </a:r>
                    </a:p>
                  </a:txBody>
                  <a:tcPr marL="38710" marR="38710" marT="19355" marB="193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49085" name="内容占位符 2"/>
          <p:cNvSpPr txBox="1"/>
          <p:nvPr/>
        </p:nvSpPr>
        <p:spPr>
          <a:xfrm>
            <a:off x="2517948" y="4217421"/>
            <a:ext cx="3594960" cy="571827"/>
          </a:xfrm>
          <a:prstGeom prst="rect">
            <a:avLst/>
          </a:prstGeom>
        </p:spPr>
        <p:txBody>
          <a:bodyPr vert="horz" lIns="38710" tIns="19355" rIns="38710" bIns="19355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193533" marR="0" lvl="1" indent="0" algn="ctr" defTabSz="387066" rtl="0" eaLnBrk="1" fontAlgn="auto" latinLnBrk="0" hangingPunct="1">
              <a:lnSpc>
                <a:spcPct val="100000"/>
              </a:lnSpc>
              <a:spcBef>
                <a:spcPts val="212"/>
              </a:spcBef>
              <a:spcAft>
                <a:spcPts val="339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zh-CN" sz="1524" b="0" i="0" u="none" strike="noStrike" kern="1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090BA48B-747A-B92F-24C9-3642BD057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neration 2 e-FLNG - </a:t>
            </a:r>
            <a:r>
              <a:rPr lang="en-US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System reliability is key</a:t>
            </a:r>
            <a:endParaRPr lang="zh-CN" alt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4F15A-CACD-DF6D-3CA5-CF8AF55ED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35E8451A-4C6B-3E5E-03A6-DDCC9C3F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The e-drive and MR compressors</a:t>
            </a:r>
            <a:endParaRPr lang="zh-CN" altLang="en-US" dirty="0"/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CE084C93-859A-714C-04BF-F212EA99979A}"/>
              </a:ext>
            </a:extLst>
          </p:cNvPr>
          <p:cNvGrpSpPr/>
          <p:nvPr/>
        </p:nvGrpSpPr>
        <p:grpSpPr>
          <a:xfrm>
            <a:off x="303097" y="1463200"/>
            <a:ext cx="4518397" cy="3347392"/>
            <a:chOff x="4588168" y="1390575"/>
            <a:chExt cx="3693479" cy="2736262"/>
          </a:xfrm>
        </p:grpSpPr>
        <p:pic>
          <p:nvPicPr>
            <p:cNvPr id="14" name="Picture 3">
              <a:extLst>
                <a:ext uri="{FF2B5EF4-FFF2-40B4-BE49-F238E27FC236}">
                  <a16:creationId xmlns:a16="http://schemas.microsoft.com/office/drawing/2014/main" id="{38BDE299-90AB-4E4D-A2D7-8E0F82411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21000" y="2367730"/>
              <a:ext cx="360647" cy="630809"/>
            </a:xfrm>
            <a:prstGeom prst="rect">
              <a:avLst/>
            </a:prstGeom>
          </p:spPr>
        </p:pic>
        <p:cxnSp>
          <p:nvCxnSpPr>
            <p:cNvPr id="16" name="Straight Connector 10">
              <a:extLst>
                <a:ext uri="{FF2B5EF4-FFF2-40B4-BE49-F238E27FC236}">
                  <a16:creationId xmlns:a16="http://schemas.microsoft.com/office/drawing/2014/main" id="{EFA85065-63E0-5271-E305-AF05511158F2}"/>
                </a:ext>
              </a:extLst>
            </p:cNvPr>
            <p:cNvCxnSpPr>
              <a:cxnSpLocks/>
            </p:cNvCxnSpPr>
            <p:nvPr/>
          </p:nvCxnSpPr>
          <p:spPr>
            <a:xfrm>
              <a:off x="6568337" y="3086568"/>
              <a:ext cx="0" cy="20614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7" name="Straight Connector 12">
              <a:extLst>
                <a:ext uri="{FF2B5EF4-FFF2-40B4-BE49-F238E27FC236}">
                  <a16:creationId xmlns:a16="http://schemas.microsoft.com/office/drawing/2014/main" id="{880E44BA-8E51-762C-7464-CEF93C89A2B5}"/>
                </a:ext>
              </a:extLst>
            </p:cNvPr>
            <p:cNvCxnSpPr>
              <a:cxnSpLocks/>
            </p:cNvCxnSpPr>
            <p:nvPr/>
          </p:nvCxnSpPr>
          <p:spPr>
            <a:xfrm>
              <a:off x="6568337" y="2440287"/>
              <a:ext cx="0" cy="19534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  <p:pic>
          <p:nvPicPr>
            <p:cNvPr id="18" name="Picture 13">
              <a:extLst>
                <a:ext uri="{FF2B5EF4-FFF2-40B4-BE49-F238E27FC236}">
                  <a16:creationId xmlns:a16="http://schemas.microsoft.com/office/drawing/2014/main" id="{B2F280DE-1F27-8027-E0DB-5E13E499B3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rgbClr val="018374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8383" y="1502999"/>
              <a:ext cx="903262" cy="686518"/>
            </a:xfrm>
            <a:prstGeom prst="rect">
              <a:avLst/>
            </a:prstGeom>
            <a:noFill/>
            <a:ln w="88900" cap="sq">
              <a:noFill/>
              <a:miter lim="800000"/>
            </a:ln>
            <a:effectLst/>
          </p:spPr>
        </p:pic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7D874DF9-D025-3B60-12F5-0EAEE724A31A}"/>
                </a:ext>
              </a:extLst>
            </p:cNvPr>
            <p:cNvSpPr/>
            <p:nvPr/>
          </p:nvSpPr>
          <p:spPr>
            <a:xfrm>
              <a:off x="5260385" y="1793269"/>
              <a:ext cx="643793" cy="396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Transformer</a:t>
              </a:r>
            </a:p>
            <a:p>
              <a:pPr>
                <a:defRPr/>
              </a:pPr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#1 for each motor</a:t>
              </a:r>
            </a:p>
          </p:txBody>
        </p:sp>
        <p:sp>
          <p:nvSpPr>
            <p:cNvPr id="20" name="Rectangle 16">
              <a:extLst>
                <a:ext uri="{FF2B5EF4-FFF2-40B4-BE49-F238E27FC236}">
                  <a16:creationId xmlns:a16="http://schemas.microsoft.com/office/drawing/2014/main" id="{3B9BCF25-9911-B381-D50C-64D3A4C580B3}"/>
                </a:ext>
              </a:extLst>
            </p:cNvPr>
            <p:cNvSpPr/>
            <p:nvPr/>
          </p:nvSpPr>
          <p:spPr>
            <a:xfrm>
              <a:off x="5260385" y="2447523"/>
              <a:ext cx="667316" cy="396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Frequency converter </a:t>
              </a:r>
            </a:p>
            <a:p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#1 each motor</a:t>
              </a:r>
            </a:p>
          </p:txBody>
        </p:sp>
        <p:sp>
          <p:nvSpPr>
            <p:cNvPr id="21" name="Rectangle 18">
              <a:extLst>
                <a:ext uri="{FF2B5EF4-FFF2-40B4-BE49-F238E27FC236}">
                  <a16:creationId xmlns:a16="http://schemas.microsoft.com/office/drawing/2014/main" id="{B2E648A2-AD80-8BA7-6E05-8C1010F19BF8}"/>
                </a:ext>
              </a:extLst>
            </p:cNvPr>
            <p:cNvSpPr/>
            <p:nvPr/>
          </p:nvSpPr>
          <p:spPr>
            <a:xfrm>
              <a:off x="4601402" y="3076150"/>
              <a:ext cx="1280099" cy="50526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250"/>
                </a:lnSpc>
                <a:spcBef>
                  <a:spcPts val="750"/>
                </a:spcBef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Motor</a:t>
              </a:r>
            </a:p>
            <a:p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2 poles - Synchronous motor 70 MW </a:t>
              </a:r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id="{FBB66521-B210-AE29-AC64-C1CC92C09E6A}"/>
                </a:ext>
              </a:extLst>
            </p:cNvPr>
            <p:cNvSpPr/>
            <p:nvPr/>
          </p:nvSpPr>
          <p:spPr>
            <a:xfrm>
              <a:off x="4588168" y="1390575"/>
              <a:ext cx="1665309" cy="21405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fontAlgn="auto">
                <a:lnSpc>
                  <a:spcPts val="2250"/>
                </a:lnSpc>
                <a:spcBef>
                  <a:spcPts val="75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Variable frequency drive</a:t>
              </a:r>
            </a:p>
          </p:txBody>
        </p:sp>
        <p:pic>
          <p:nvPicPr>
            <p:cNvPr id="23" name="Picture 24">
              <a:extLst>
                <a:ext uri="{FF2B5EF4-FFF2-40B4-BE49-F238E27FC236}">
                  <a16:creationId xmlns:a16="http://schemas.microsoft.com/office/drawing/2014/main" id="{1D781186-3658-4217-89ED-341289F10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49463" y="2353659"/>
              <a:ext cx="947932" cy="479292"/>
            </a:xfrm>
            <a:prstGeom prst="rect">
              <a:avLst/>
            </a:prstGeom>
            <a:effectLst/>
          </p:spPr>
        </p:pic>
        <p:sp>
          <p:nvSpPr>
            <p:cNvPr id="24" name="Rectangle 25">
              <a:extLst>
                <a:ext uri="{FF2B5EF4-FFF2-40B4-BE49-F238E27FC236}">
                  <a16:creationId xmlns:a16="http://schemas.microsoft.com/office/drawing/2014/main" id="{77A939FF-FD76-9E16-4DA2-B447AB48D9DF}"/>
                </a:ext>
              </a:extLst>
            </p:cNvPr>
            <p:cNvSpPr/>
            <p:nvPr/>
          </p:nvSpPr>
          <p:spPr>
            <a:xfrm>
              <a:off x="7100220" y="2424513"/>
              <a:ext cx="747746" cy="396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50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Potential harmonic filters #1 each motor</a:t>
              </a:r>
            </a:p>
          </p:txBody>
        </p:sp>
        <p:pic>
          <p:nvPicPr>
            <p:cNvPr id="25" name="Picture 40" descr="A large grey machine in a factory&#10;&#10;Description automatically generated">
              <a:extLst>
                <a:ext uri="{FF2B5EF4-FFF2-40B4-BE49-F238E27FC236}">
                  <a16:creationId xmlns:a16="http://schemas.microsoft.com/office/drawing/2014/main" id="{42889DE6-DB6C-ECA7-F5DE-6303D9662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3845" y="3131659"/>
              <a:ext cx="968640" cy="995178"/>
            </a:xfrm>
            <a:prstGeom prst="rect">
              <a:avLst/>
            </a:prstGeom>
          </p:spPr>
        </p:pic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2AA89A8-113A-AA8D-5858-1E6471030BC5}"/>
              </a:ext>
            </a:extLst>
          </p:cNvPr>
          <p:cNvGrpSpPr/>
          <p:nvPr/>
        </p:nvGrpSpPr>
        <p:grpSpPr>
          <a:xfrm>
            <a:off x="5658282" y="1747260"/>
            <a:ext cx="3036478" cy="2172218"/>
            <a:chOff x="425955" y="1563638"/>
            <a:chExt cx="3036478" cy="2172218"/>
          </a:xfrm>
        </p:grpSpPr>
        <p:pic>
          <p:nvPicPr>
            <p:cNvPr id="27" name="Picture 29">
              <a:extLst>
                <a:ext uri="{FF2B5EF4-FFF2-40B4-BE49-F238E27FC236}">
                  <a16:creationId xmlns:a16="http://schemas.microsoft.com/office/drawing/2014/main" id="{9C93C65F-7192-7472-16E9-A812D0EA8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01708" y="2827838"/>
              <a:ext cx="945170" cy="708878"/>
            </a:xfrm>
            <a:prstGeom prst="rect">
              <a:avLst/>
            </a:prstGeom>
          </p:spPr>
        </p:pic>
        <p:sp>
          <p:nvSpPr>
            <p:cNvPr id="28" name="Line 82">
              <a:extLst>
                <a:ext uri="{FF2B5EF4-FFF2-40B4-BE49-F238E27FC236}">
                  <a16:creationId xmlns:a16="http://schemas.microsoft.com/office/drawing/2014/main" id="{F93C97D7-142F-0F0E-DD33-69262953BD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08969" y="3341618"/>
              <a:ext cx="945171" cy="386"/>
            </a:xfrm>
            <a:prstGeom prst="line">
              <a:avLst/>
            </a:prstGeom>
            <a:noFill/>
            <a:ln w="38100">
              <a:solidFill>
                <a:srgbClr val="05322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kern="0">
                <a:solidFill>
                  <a:sysClr val="windowText" lastClr="000000"/>
                </a:solidFill>
                <a:latin typeface="Poppins SemiBold"/>
              </a:endParaRPr>
            </a:p>
          </p:txBody>
        </p:sp>
        <p:pic>
          <p:nvPicPr>
            <p:cNvPr id="29" name="Picture 38">
              <a:extLst>
                <a:ext uri="{FF2B5EF4-FFF2-40B4-BE49-F238E27FC236}">
                  <a16:creationId xmlns:a16="http://schemas.microsoft.com/office/drawing/2014/main" id="{84A526C6-A399-2F0E-9AE8-8F64140E6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83020" y="2782306"/>
              <a:ext cx="1065368" cy="891617"/>
            </a:xfrm>
            <a:prstGeom prst="rect">
              <a:avLst/>
            </a:prstGeom>
          </p:spPr>
        </p:pic>
        <p:sp>
          <p:nvSpPr>
            <p:cNvPr id="30" name="Rectangle 145">
              <a:extLst>
                <a:ext uri="{FF2B5EF4-FFF2-40B4-BE49-F238E27FC236}">
                  <a16:creationId xmlns:a16="http://schemas.microsoft.com/office/drawing/2014/main" id="{5560253E-A0B8-5CF3-18F2-94BEF283F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041" y="3199200"/>
              <a:ext cx="821059" cy="2077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>
              <a:spAutoFit/>
            </a:bodyPr>
            <a:lstStyle/>
            <a:p>
              <a:pPr defTabSz="685783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50" b="1" kern="0" dirty="0">
                  <a:solidFill>
                    <a:srgbClr val="000000"/>
                  </a:solidFill>
                  <a:latin typeface="Poppins SemiBold"/>
                </a:rPr>
                <a:t>70MW motor </a:t>
              </a:r>
            </a:p>
          </p:txBody>
        </p:sp>
        <p:sp>
          <p:nvSpPr>
            <p:cNvPr id="31" name="TextBox 44">
              <a:extLst>
                <a:ext uri="{FF2B5EF4-FFF2-40B4-BE49-F238E27FC236}">
                  <a16:creationId xmlns:a16="http://schemas.microsoft.com/office/drawing/2014/main" id="{1A00709A-646E-7E3B-FF76-B48CB0A7881F}"/>
                </a:ext>
              </a:extLst>
            </p:cNvPr>
            <p:cNvSpPr txBox="1"/>
            <p:nvPr/>
          </p:nvSpPr>
          <p:spPr>
            <a:xfrm>
              <a:off x="425955" y="2483744"/>
              <a:ext cx="759071" cy="2694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  <a:lvl2pPr lvl="1" algn="ctr" defTabSz="457200">
                <a:spcAft>
                  <a:spcPts val="900"/>
                </a:spcAft>
                <a:defRPr b="1">
                  <a:solidFill>
                    <a:schemeClr val="bg1"/>
                  </a:solidFill>
                  <a:latin typeface="Poppins"/>
                  <a:cs typeface="Poppins" pitchFamily="2" charset="77"/>
                </a:defRPr>
              </a:lvl2pPr>
            </a:lstStyle>
            <a:p>
              <a:pPr algn="l">
                <a:lnSpc>
                  <a:spcPts val="2250"/>
                </a:lnSpc>
                <a:spcBef>
                  <a:spcPts val="750"/>
                </a:spcBef>
                <a:defRPr/>
              </a:pPr>
              <a:r>
                <a:rPr lang="en-US" sz="1425" dirty="0">
                  <a:solidFill>
                    <a:srgbClr val="18295B"/>
                  </a:solidFill>
                  <a:latin typeface="Source Sans 3" panose="020B0303030403020204" pitchFamily="34" charset="0"/>
                </a:rPr>
                <a:t>1 train</a:t>
              </a:r>
            </a:p>
          </p:txBody>
        </p:sp>
        <p:sp>
          <p:nvSpPr>
            <p:cNvPr id="32" name="Left Brace 45">
              <a:extLst>
                <a:ext uri="{FF2B5EF4-FFF2-40B4-BE49-F238E27FC236}">
                  <a16:creationId xmlns:a16="http://schemas.microsoft.com/office/drawing/2014/main" id="{59EA4494-B644-C1CD-B2DF-4F75354E8CF6}"/>
                </a:ext>
              </a:extLst>
            </p:cNvPr>
            <p:cNvSpPr/>
            <p:nvPr/>
          </p:nvSpPr>
          <p:spPr>
            <a:xfrm>
              <a:off x="985107" y="1564774"/>
              <a:ext cx="202130" cy="2171082"/>
            </a:xfrm>
            <a:prstGeom prst="leftBrace">
              <a:avLst>
                <a:gd name="adj1" fmla="val 329950"/>
                <a:gd name="adj2" fmla="val 50000"/>
              </a:avLst>
            </a:prstGeom>
            <a:noFill/>
            <a:ln w="9525" cap="flat" cmpd="sng" algn="ctr">
              <a:solidFill>
                <a:srgbClr val="0098C7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kern="0" dirty="0">
                <a:solidFill>
                  <a:srgbClr val="000000"/>
                </a:solidFill>
                <a:latin typeface="Poppins"/>
              </a:endParaRPr>
            </a:p>
          </p:txBody>
        </p:sp>
        <p:sp>
          <p:nvSpPr>
            <p:cNvPr id="33" name="Rectangle 145">
              <a:extLst>
                <a:ext uri="{FF2B5EF4-FFF2-40B4-BE49-F238E27FC236}">
                  <a16:creationId xmlns:a16="http://schemas.microsoft.com/office/drawing/2014/main" id="{8D51E495-A300-44D5-2F65-9DB9B1E7E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3768" y="3378903"/>
              <a:ext cx="823477" cy="2077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 algn="ctr" defTabSz="685783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50" b="1" kern="0" dirty="0">
                  <a:solidFill>
                    <a:srgbClr val="000000"/>
                  </a:solidFill>
                  <a:latin typeface="Poppins SemiBold"/>
                </a:rPr>
                <a:t>MRC</a:t>
              </a:r>
            </a:p>
          </p:txBody>
        </p:sp>
        <p:pic>
          <p:nvPicPr>
            <p:cNvPr id="34" name="Picture 29">
              <a:extLst>
                <a:ext uri="{FF2B5EF4-FFF2-40B4-BE49-F238E27FC236}">
                  <a16:creationId xmlns:a16="http://schemas.microsoft.com/office/drawing/2014/main" id="{561654A3-1D78-9622-8777-91DC13151D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15753" y="1609170"/>
              <a:ext cx="945170" cy="708878"/>
            </a:xfrm>
            <a:prstGeom prst="rect">
              <a:avLst/>
            </a:prstGeom>
          </p:spPr>
        </p:pic>
        <p:sp>
          <p:nvSpPr>
            <p:cNvPr id="35" name="Line 82">
              <a:extLst>
                <a:ext uri="{FF2B5EF4-FFF2-40B4-BE49-F238E27FC236}">
                  <a16:creationId xmlns:a16="http://schemas.microsoft.com/office/drawing/2014/main" id="{233EAB44-FDFE-5DC8-0791-0D4D53DEB1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23014" y="2122950"/>
              <a:ext cx="945171" cy="386"/>
            </a:xfrm>
            <a:prstGeom prst="line">
              <a:avLst/>
            </a:prstGeom>
            <a:noFill/>
            <a:ln w="38100">
              <a:solidFill>
                <a:srgbClr val="05322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kern="0">
                <a:solidFill>
                  <a:sysClr val="windowText" lastClr="000000"/>
                </a:solidFill>
                <a:latin typeface="Poppins SemiBold"/>
              </a:endParaRPr>
            </a:p>
          </p:txBody>
        </p:sp>
        <p:pic>
          <p:nvPicPr>
            <p:cNvPr id="36" name="Picture 38">
              <a:extLst>
                <a:ext uri="{FF2B5EF4-FFF2-40B4-BE49-F238E27FC236}">
                  <a16:creationId xmlns:a16="http://schemas.microsoft.com/office/drawing/2014/main" id="{F272D3C3-1C59-A544-E69A-0E8492B5D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97065" y="1563638"/>
              <a:ext cx="1065368" cy="891617"/>
            </a:xfrm>
            <a:prstGeom prst="rect">
              <a:avLst/>
            </a:prstGeom>
          </p:spPr>
        </p:pic>
        <p:sp>
          <p:nvSpPr>
            <p:cNvPr id="37" name="Rectangle 145">
              <a:extLst>
                <a:ext uri="{FF2B5EF4-FFF2-40B4-BE49-F238E27FC236}">
                  <a16:creationId xmlns:a16="http://schemas.microsoft.com/office/drawing/2014/main" id="{3D6C9EB0-A512-F85E-818B-3E1B55A95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086" y="1980532"/>
              <a:ext cx="821059" cy="2077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>
              <a:spAutoFit/>
            </a:bodyPr>
            <a:lstStyle/>
            <a:p>
              <a:pPr defTabSz="685783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50" b="1" kern="0" dirty="0">
                  <a:solidFill>
                    <a:srgbClr val="000000"/>
                  </a:solidFill>
                  <a:latin typeface="Poppins SemiBold"/>
                </a:rPr>
                <a:t>70MW motor </a:t>
              </a:r>
            </a:p>
          </p:txBody>
        </p:sp>
        <p:sp>
          <p:nvSpPr>
            <p:cNvPr id="38" name="Rectangle 145">
              <a:extLst>
                <a:ext uri="{FF2B5EF4-FFF2-40B4-BE49-F238E27FC236}">
                  <a16:creationId xmlns:a16="http://schemas.microsoft.com/office/drawing/2014/main" id="{AA0850A6-2FA9-DD89-CDE6-F458A5F9DF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7813" y="2160235"/>
              <a:ext cx="823477" cy="2077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 algn="ctr" defTabSz="685783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50" b="1" kern="0" dirty="0">
                  <a:solidFill>
                    <a:srgbClr val="000000"/>
                  </a:solidFill>
                  <a:latin typeface="Poppins SemiBold"/>
                </a:rPr>
                <a:t>PMRC</a:t>
              </a:r>
            </a:p>
          </p:txBody>
        </p:sp>
      </p:grpSp>
      <p:sp>
        <p:nvSpPr>
          <p:cNvPr id="40" name="Rectangle 4">
            <a:extLst>
              <a:ext uri="{FF2B5EF4-FFF2-40B4-BE49-F238E27FC236}">
                <a16:creationId xmlns:a16="http://schemas.microsoft.com/office/drawing/2014/main" id="{9701D006-CCEC-B19E-CBEC-7A1A248E0C56}"/>
              </a:ext>
            </a:extLst>
          </p:cNvPr>
          <p:cNvSpPr/>
          <p:nvPr/>
        </p:nvSpPr>
        <p:spPr>
          <a:xfrm>
            <a:off x="235745" y="1428087"/>
            <a:ext cx="4771862" cy="1974703"/>
          </a:xfrm>
          <a:prstGeom prst="rect">
            <a:avLst/>
          </a:prstGeom>
          <a:noFill/>
          <a:ln w="12700">
            <a:solidFill>
              <a:srgbClr val="0098C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zh-CN" altLang="en-U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" name="Rectangle 4">
            <a:extLst>
              <a:ext uri="{FF2B5EF4-FFF2-40B4-BE49-F238E27FC236}">
                <a16:creationId xmlns:a16="http://schemas.microsoft.com/office/drawing/2014/main" id="{1C9FC2F5-08DB-B44D-0F3C-4067F2B2CFD5}"/>
              </a:ext>
            </a:extLst>
          </p:cNvPr>
          <p:cNvSpPr/>
          <p:nvPr/>
        </p:nvSpPr>
        <p:spPr>
          <a:xfrm>
            <a:off x="235745" y="3469158"/>
            <a:ext cx="4771862" cy="1413085"/>
          </a:xfrm>
          <a:prstGeom prst="rect">
            <a:avLst/>
          </a:prstGeom>
          <a:noFill/>
          <a:ln w="12700">
            <a:solidFill>
              <a:srgbClr val="0098C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8"/>
            <a:endParaRPr lang="zh-CN" altLang="en-U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ABC3C41-68AB-7AD4-F4B7-5761F3A2F2B1}"/>
              </a:ext>
            </a:extLst>
          </p:cNvPr>
          <p:cNvSpPr txBox="1"/>
          <p:nvPr/>
        </p:nvSpPr>
        <p:spPr>
          <a:xfrm>
            <a:off x="3371247" y="4780706"/>
            <a:ext cx="1450247" cy="59771"/>
          </a:xfrm>
          <a:prstGeom prst="rect">
            <a:avLst/>
          </a:prstGeom>
        </p:spPr>
        <p:txBody>
          <a:bodyPr vert="horz" wrap="square" lIns="68580" tIns="34290" rIns="68580" bIns="34290" rtlCol="0" anchor="b">
            <a:noAutofit/>
          </a:bodyPr>
          <a:lstStyle/>
          <a:p>
            <a:pPr>
              <a:lnSpc>
                <a:spcPts val="450"/>
              </a:lnSpc>
            </a:pPr>
            <a:r>
              <a:rPr lang="en-US" altLang="zh-CN" sz="525" spc="-45" dirty="0">
                <a:solidFill>
                  <a:srgbClr val="18295B"/>
                </a:solidFill>
              </a:rPr>
              <a:t>Copyright 2025 Baker Hughes Company, all rights reserved</a:t>
            </a:r>
            <a:endParaRPr lang="zh-CN" altLang="en-US" sz="525" spc="-45" dirty="0">
              <a:solidFill>
                <a:srgbClr val="182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907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3D4F3-A339-1610-1EA2-262704D1FC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D099AD36-4CC8-422C-0E67-A31301FF73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68" r="28347"/>
          <a:stretch/>
        </p:blipFill>
        <p:spPr>
          <a:xfrm>
            <a:off x="4076231" y="-52919"/>
            <a:ext cx="4080840" cy="5504989"/>
          </a:xfrm>
          <a:prstGeom prst="rect">
            <a:avLst/>
          </a:prstGeom>
        </p:spPr>
      </p:pic>
      <p:sp>
        <p:nvSpPr>
          <p:cNvPr id="3" name="标题 2">
            <a:extLst>
              <a:ext uri="{FF2B5EF4-FFF2-40B4-BE49-F238E27FC236}">
                <a16:creationId xmlns:a16="http://schemas.microsoft.com/office/drawing/2014/main" id="{F1F2A67B-8980-F938-F232-B6791450F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The E-house of Generation 2 e-FLNG</a:t>
            </a:r>
            <a:endParaRPr lang="zh-CN" altLang="en-US" dirty="0"/>
          </a:p>
        </p:txBody>
      </p:sp>
      <p:sp>
        <p:nvSpPr>
          <p:cNvPr id="4" name="对话气泡: 圆角矩形 14">
            <a:extLst>
              <a:ext uri="{FF2B5EF4-FFF2-40B4-BE49-F238E27FC236}">
                <a16:creationId xmlns:a16="http://schemas.microsoft.com/office/drawing/2014/main" id="{4B9A5068-29F3-44F9-1598-100BA97259C5}"/>
              </a:ext>
            </a:extLst>
          </p:cNvPr>
          <p:cNvSpPr/>
          <p:nvPr/>
        </p:nvSpPr>
        <p:spPr>
          <a:xfrm>
            <a:off x="1619672" y="2270228"/>
            <a:ext cx="2044940" cy="858697"/>
          </a:xfrm>
          <a:prstGeom prst="wedgeRoundRectCallout">
            <a:avLst>
              <a:gd name="adj1" fmla="val 103912"/>
              <a:gd name="adj2" fmla="val 50979"/>
              <a:gd name="adj3" fmla="val 16667"/>
            </a:avLst>
          </a:prstGeom>
          <a:solidFill>
            <a:srgbClr val="0098C7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zh-CN" sz="1200" b="1" dirty="0">
              <a:solidFill>
                <a:schemeClr val="bg1"/>
              </a:solidFill>
              <a:latin typeface="Source Sans 3" panose="020B0303030403020204" pitchFamily="34" charset="0"/>
              <a:ea typeface="宋体" pitchFamily="2" charset="-122"/>
            </a:endParaRP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Level 2:</a:t>
            </a: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HV switchboards</a:t>
            </a: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HV VFD</a:t>
            </a:r>
          </a:p>
          <a:p>
            <a:pPr defTabSz="658265"/>
            <a:endParaRPr lang="en-GB" sz="1425" spc="-45" dirty="0">
              <a:solidFill>
                <a:schemeClr val="bg1"/>
              </a:solidFill>
              <a:latin typeface="Source Sans 3 SemiBold" panose="020B0303030403020204" pitchFamily="34" charset="0"/>
            </a:endParaRPr>
          </a:p>
        </p:txBody>
      </p:sp>
      <p:sp>
        <p:nvSpPr>
          <p:cNvPr id="5" name="对话气泡: 圆角矩形 14">
            <a:extLst>
              <a:ext uri="{FF2B5EF4-FFF2-40B4-BE49-F238E27FC236}">
                <a16:creationId xmlns:a16="http://schemas.microsoft.com/office/drawing/2014/main" id="{A3276FF5-4792-66CF-AB66-01226C661974}"/>
              </a:ext>
            </a:extLst>
          </p:cNvPr>
          <p:cNvSpPr/>
          <p:nvPr/>
        </p:nvSpPr>
        <p:spPr>
          <a:xfrm>
            <a:off x="1619672" y="3625441"/>
            <a:ext cx="2044940" cy="807717"/>
          </a:xfrm>
          <a:prstGeom prst="wedgeRoundRectCallout">
            <a:avLst>
              <a:gd name="adj1" fmla="val 115696"/>
              <a:gd name="adj2" fmla="val -7888"/>
              <a:gd name="adj3" fmla="val 16667"/>
            </a:avLst>
          </a:prstGeom>
          <a:solidFill>
            <a:srgbClr val="0098C7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defTabSz="658265"/>
            <a:endParaRPr lang="en-GB" altLang="zh-CN" sz="1425" spc="-45" dirty="0">
              <a:solidFill>
                <a:schemeClr val="bg1"/>
              </a:solidFill>
              <a:latin typeface="Source Sans 3 SemiBold" panose="020B0303030403020204" pitchFamily="34" charset="0"/>
            </a:endParaRP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Level 1:</a:t>
            </a: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VFD transformers</a:t>
            </a: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HV transformers</a:t>
            </a:r>
          </a:p>
          <a:p>
            <a:pPr defTabSz="658265"/>
            <a:endParaRPr lang="en-GB" sz="1425" spc="-45" dirty="0">
              <a:solidFill>
                <a:schemeClr val="bg1"/>
              </a:solidFill>
              <a:latin typeface="Source Sans 3 SemiBold" panose="020B0303030403020204" pitchFamily="34" charset="0"/>
            </a:endParaRPr>
          </a:p>
        </p:txBody>
      </p:sp>
      <p:pic>
        <p:nvPicPr>
          <p:cNvPr id="6" name="图形 5" descr="穿着POLO衫的男人">
            <a:extLst>
              <a:ext uri="{FF2B5EF4-FFF2-40B4-BE49-F238E27FC236}">
                <a16:creationId xmlns:a16="http://schemas.microsoft.com/office/drawing/2014/main" id="{DEDE55DD-58D4-6ABD-D829-8286E4C57A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80487" y="4724485"/>
            <a:ext cx="45719" cy="14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081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A0E13-87DB-0AC2-7991-2E99ADD8D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>
            <a:extLst>
              <a:ext uri="{FF2B5EF4-FFF2-40B4-BE49-F238E27FC236}">
                <a16:creationId xmlns:a16="http://schemas.microsoft.com/office/drawing/2014/main" id="{320DA2FD-0390-F63F-6BD5-3D3338884BFE}"/>
              </a:ext>
            </a:extLst>
          </p:cNvPr>
          <p:cNvGrpSpPr/>
          <p:nvPr/>
        </p:nvGrpSpPr>
        <p:grpSpPr>
          <a:xfrm>
            <a:off x="2938480" y="1376870"/>
            <a:ext cx="5951756" cy="3685273"/>
            <a:chOff x="4372439" y="1776267"/>
            <a:chExt cx="7935675" cy="4913697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1278006E-9539-FCC1-66B7-131BED796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72439" y="1780227"/>
              <a:ext cx="7348349" cy="4909737"/>
            </a:xfrm>
            <a:prstGeom prst="rect">
              <a:avLst/>
            </a:prstGeom>
            <a:solidFill>
              <a:srgbClr val="214B71"/>
            </a:solidFill>
          </p:spPr>
        </p:pic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CF0B273-51E6-9D43-96D5-BDC20D909F83}"/>
                </a:ext>
              </a:extLst>
            </p:cNvPr>
            <p:cNvSpPr/>
            <p:nvPr/>
          </p:nvSpPr>
          <p:spPr>
            <a:xfrm>
              <a:off x="11306630" y="1776267"/>
              <a:ext cx="1001484" cy="4909737"/>
            </a:xfrm>
            <a:prstGeom prst="rect">
              <a:avLst/>
            </a:prstGeom>
            <a:solidFill>
              <a:srgbClr val="64819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9" name="标题 8">
            <a:extLst>
              <a:ext uri="{FF2B5EF4-FFF2-40B4-BE49-F238E27FC236}">
                <a16:creationId xmlns:a16="http://schemas.microsoft.com/office/drawing/2014/main" id="{60F4FD6B-99E1-CA45-9B32-567EE0070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The 70MW synchronous motor - </a:t>
            </a:r>
            <a:r>
              <a:rPr lang="en-US" altLang="zh-CN" sz="2400" dirty="0" err="1"/>
              <a:t>marinisation</a:t>
            </a:r>
            <a:endParaRPr lang="zh-CN" alt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6DC98DE-4105-A610-075A-F1B9C88F079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9" y="1204684"/>
            <a:ext cx="2448396" cy="3282950"/>
          </a:xfrm>
        </p:spPr>
        <p:txBody>
          <a:bodyPr>
            <a:normAutofit fontScale="92500"/>
          </a:bodyPr>
          <a:lstStyle/>
          <a:p>
            <a:pPr>
              <a:lnSpc>
                <a:spcPts val="2250"/>
              </a:lnSpc>
            </a:pPr>
            <a:r>
              <a:rPr lang="en-US" altLang="zh-CN" sz="1400" dirty="0"/>
              <a:t>70MW motor already in onshore operation, but the offshore reference goes up to 30-40MW</a:t>
            </a:r>
          </a:p>
          <a:p>
            <a:pPr>
              <a:lnSpc>
                <a:spcPts val="2250"/>
              </a:lnSpc>
            </a:pPr>
            <a:r>
              <a:rPr lang="en-US" altLang="zh-CN" sz="1400" dirty="0"/>
              <a:t>2 pole, direct drive</a:t>
            </a:r>
          </a:p>
          <a:p>
            <a:pPr>
              <a:lnSpc>
                <a:spcPts val="2250"/>
              </a:lnSpc>
            </a:pPr>
            <a:r>
              <a:rPr lang="en-US" altLang="zh-CN" sz="1400" dirty="0"/>
              <a:t>8m long, 5m tall, and 120T weight, additional complexity:</a:t>
            </a:r>
          </a:p>
          <a:p>
            <a:pPr marL="458782" lvl="1" indent="-257175" defTabSz="914378"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Deflection on the base plate</a:t>
            </a:r>
          </a:p>
          <a:p>
            <a:pPr marL="458782" lvl="1" indent="-257175" defTabSz="914378"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Mechanical handling</a:t>
            </a:r>
          </a:p>
          <a:p>
            <a:pPr>
              <a:lnSpc>
                <a:spcPts val="2250"/>
              </a:lnSpc>
            </a:pPr>
            <a:r>
              <a:rPr lang="en-US" sz="1400" dirty="0"/>
              <a:t>Redundancy and sparing</a:t>
            </a:r>
          </a:p>
          <a:p>
            <a:pPr>
              <a:lnSpc>
                <a:spcPts val="2250"/>
              </a:lnSpc>
            </a:pPr>
            <a:endParaRPr lang="en-US" sz="1425" dirty="0"/>
          </a:p>
          <a:p>
            <a:pPr>
              <a:lnSpc>
                <a:spcPts val="2250"/>
              </a:lnSpc>
            </a:pPr>
            <a:endParaRPr lang="en-US" sz="1425" dirty="0"/>
          </a:p>
        </p:txBody>
      </p:sp>
      <p:sp>
        <p:nvSpPr>
          <p:cNvPr id="4" name="对话气泡: 圆角矩形 10">
            <a:extLst>
              <a:ext uri="{FF2B5EF4-FFF2-40B4-BE49-F238E27FC236}">
                <a16:creationId xmlns:a16="http://schemas.microsoft.com/office/drawing/2014/main" id="{7956ABFF-A127-37BB-9262-24F2FD1F4CCD}"/>
              </a:ext>
            </a:extLst>
          </p:cNvPr>
          <p:cNvSpPr/>
          <p:nvPr/>
        </p:nvSpPr>
        <p:spPr>
          <a:xfrm>
            <a:off x="5689831" y="1514240"/>
            <a:ext cx="2428067" cy="503553"/>
          </a:xfrm>
          <a:prstGeom prst="wedgeRoundRectCallout">
            <a:avLst>
              <a:gd name="adj1" fmla="val -88227"/>
              <a:gd name="adj2" fmla="val 1603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rgbClr val="18295B"/>
                </a:solidFill>
                <a:latin typeface="Source Sans 3" panose="020B0303030403020204" pitchFamily="34" charset="0"/>
                <a:ea typeface="宋体" pitchFamily="2" charset="-122"/>
              </a:rPr>
              <a:t>Yellow=20MW motor, 4m length</a:t>
            </a:r>
          </a:p>
          <a:p>
            <a:pPr algn="ctr"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rgbClr val="18295B"/>
                </a:solidFill>
                <a:latin typeface="Source Sans 3" panose="020B0303030403020204" pitchFamily="34" charset="0"/>
                <a:ea typeface="宋体" pitchFamily="2" charset="-122"/>
              </a:rPr>
              <a:t>White=70MW motor, 8m length</a:t>
            </a: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C8711291-2B82-A3F6-F296-49DBEE797304}"/>
              </a:ext>
            </a:extLst>
          </p:cNvPr>
          <p:cNvSpPr txBox="1"/>
          <p:nvPr/>
        </p:nvSpPr>
        <p:spPr>
          <a:xfrm>
            <a:off x="6510400" y="2325887"/>
            <a:ext cx="2428067" cy="1536476"/>
          </a:xfrm>
          <a:prstGeom prst="rect">
            <a:avLst/>
          </a:prstGeom>
        </p:spPr>
        <p:txBody>
          <a:bodyPr vert="horz" lIns="38710" tIns="19355" rIns="38710" bIns="19355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193529" lvl="1" indent="0" defTabSz="387056" fontAlgn="auto">
              <a:lnSpc>
                <a:spcPct val="100000"/>
              </a:lnSpc>
              <a:spcBef>
                <a:spcPts val="212"/>
              </a:spcBef>
              <a:spcAft>
                <a:spcPts val="339"/>
              </a:spcAft>
              <a:buNone/>
              <a:defRPr/>
            </a:pPr>
            <a:r>
              <a:rPr lang="en-US" altLang="zh-CN" sz="1300" b="1" dirty="0">
                <a:latin typeface="Source Sans 3" panose="020B0303030403020204" pitchFamily="34" charset="0"/>
                <a:cs typeface="+mn-cs"/>
              </a:rPr>
              <a:t>Why 2 pole is preferred?</a:t>
            </a:r>
          </a:p>
          <a:p>
            <a:pPr marL="458782" lvl="1" indent="-257175" defTabSz="914378" fontAlgn="auto">
              <a:lnSpc>
                <a:spcPct val="140000"/>
              </a:lnSpc>
              <a:spcBef>
                <a:spcPts val="0"/>
              </a:spcBef>
              <a:spcAft>
                <a:spcPts val="339"/>
              </a:spcAft>
              <a:buClr>
                <a:schemeClr val="bg1"/>
              </a:buClr>
              <a:buSzPct val="70000"/>
              <a:defRPr/>
            </a:pPr>
            <a:r>
              <a:rPr lang="en-US" altLang="zh-CN" sz="1200" dirty="0">
                <a:latin typeface="Source Sans 3" panose="020B0303030403020204" pitchFamily="34" charset="0"/>
                <a:cs typeface="+mn-cs"/>
              </a:rPr>
              <a:t>Could avoid having gear box</a:t>
            </a:r>
          </a:p>
          <a:p>
            <a:pPr marL="458782" lvl="1" indent="-257175" defTabSz="914378" fontAlgn="auto">
              <a:lnSpc>
                <a:spcPct val="140000"/>
              </a:lnSpc>
              <a:spcBef>
                <a:spcPts val="0"/>
              </a:spcBef>
              <a:spcAft>
                <a:spcPts val="339"/>
              </a:spcAft>
              <a:buClr>
                <a:schemeClr val="bg1"/>
              </a:buClr>
              <a:buSzPct val="70000"/>
              <a:defRPr/>
            </a:pPr>
            <a:r>
              <a:rPr lang="en-US" altLang="zh-CN" sz="1200" dirty="0">
                <a:latin typeface="Source Sans 3" panose="020B0303030403020204" pitchFamily="34" charset="0"/>
                <a:cs typeface="+mn-cs"/>
              </a:rPr>
              <a:t>A higher design envelope to </a:t>
            </a:r>
            <a:r>
              <a:rPr lang="en-US" altLang="zh-CN" sz="1200" dirty="0" err="1">
                <a:latin typeface="Source Sans 3" panose="020B0303030403020204" pitchFamily="34" charset="0"/>
                <a:cs typeface="+mn-cs"/>
              </a:rPr>
              <a:t>maximise</a:t>
            </a:r>
            <a:r>
              <a:rPr lang="en-US" altLang="zh-CN" sz="1200" dirty="0">
                <a:latin typeface="Source Sans 3" panose="020B0303030403020204" pitchFamily="34" charset="0"/>
                <a:cs typeface="+mn-cs"/>
              </a:rPr>
              <a:t> the technology potential</a:t>
            </a:r>
          </a:p>
        </p:txBody>
      </p:sp>
      <p:pic>
        <p:nvPicPr>
          <p:cNvPr id="6" name="图片 8">
            <a:extLst>
              <a:ext uri="{FF2B5EF4-FFF2-40B4-BE49-F238E27FC236}">
                <a16:creationId xmlns:a16="http://schemas.microsoft.com/office/drawing/2014/main" id="{4014E58D-643D-D2E1-830A-2E8EA5870BB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214B71"/>
              </a:clrFrom>
              <a:clrTo>
                <a:srgbClr val="214B7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7255" y="1347614"/>
            <a:ext cx="4392488" cy="3565451"/>
          </a:xfrm>
          <a:prstGeom prst="rect">
            <a:avLst/>
          </a:prstGeom>
        </p:spPr>
      </p:pic>
      <p:pic>
        <p:nvPicPr>
          <p:cNvPr id="7" name="图形 6" descr="穿着POLO衫的男人">
            <a:extLst>
              <a:ext uri="{FF2B5EF4-FFF2-40B4-BE49-F238E27FC236}">
                <a16:creationId xmlns:a16="http://schemas.microsoft.com/office/drawing/2014/main" id="{9094E9E9-1CA8-E7D7-F74E-407EA2D5B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52617" y="2325887"/>
            <a:ext cx="123978" cy="38903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27E562B4-9274-B075-407B-133CF42CA6F5}"/>
              </a:ext>
            </a:extLst>
          </p:cNvPr>
          <p:cNvSpPr txBox="1"/>
          <p:nvPr/>
        </p:nvSpPr>
        <p:spPr>
          <a:xfrm>
            <a:off x="7488220" y="5000886"/>
            <a:ext cx="1450247" cy="59771"/>
          </a:xfrm>
          <a:prstGeom prst="rect">
            <a:avLst/>
          </a:prstGeom>
        </p:spPr>
        <p:txBody>
          <a:bodyPr vert="horz" wrap="square" lIns="68580" tIns="34290" rIns="68580" bIns="34290" rtlCol="0" anchor="b">
            <a:noAutofit/>
          </a:bodyPr>
          <a:lstStyle/>
          <a:p>
            <a:pPr>
              <a:lnSpc>
                <a:spcPts val="450"/>
              </a:lnSpc>
            </a:pPr>
            <a:r>
              <a:rPr lang="en-US" altLang="zh-CN" sz="525" spc="-45" dirty="0">
                <a:solidFill>
                  <a:srgbClr val="18295B"/>
                </a:solidFill>
              </a:rPr>
              <a:t>Copyright 2025 Baker Hughes Company, all rights reserved</a:t>
            </a:r>
            <a:endParaRPr lang="zh-CN" altLang="en-US" sz="525" spc="-45" dirty="0">
              <a:solidFill>
                <a:srgbClr val="182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71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32617-D4FA-6B20-9839-72632493B9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EC1E7B83-A594-3D39-2A75-41B1DE6E68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3595" t="22041" r="12666" b="17696"/>
          <a:stretch/>
        </p:blipFill>
        <p:spPr>
          <a:xfrm>
            <a:off x="3796145" y="1260764"/>
            <a:ext cx="5100831" cy="2756664"/>
          </a:xfrm>
          <a:prstGeom prst="rect">
            <a:avLst/>
          </a:prstGeom>
        </p:spPr>
      </p:pic>
      <p:sp>
        <p:nvSpPr>
          <p:cNvPr id="4" name="标题 3">
            <a:extLst>
              <a:ext uri="{FF2B5EF4-FFF2-40B4-BE49-F238E27FC236}">
                <a16:creationId xmlns:a16="http://schemas.microsoft.com/office/drawing/2014/main" id="{DC6D7216-CF67-A4FE-BA0A-93AD8F130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The motor-compressor skid for Generation 2 e-FLNG</a:t>
            </a:r>
            <a:endParaRPr lang="zh-CN" alt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2DB855-8B73-729C-6FB8-587A9BA248C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8" y="1203325"/>
            <a:ext cx="3841750" cy="4318000"/>
          </a:xfrm>
        </p:spPr>
        <p:txBody>
          <a:bodyPr>
            <a:normAutofit/>
          </a:bodyPr>
          <a:lstStyle/>
          <a:p>
            <a:pPr>
              <a:lnSpc>
                <a:spcPts val="2250"/>
              </a:lnSpc>
            </a:pPr>
            <a:r>
              <a:rPr lang="en-US" altLang="zh-CN" sz="1400" dirty="0"/>
              <a:t>Inclinations</a:t>
            </a:r>
          </a:p>
          <a:p>
            <a:pPr>
              <a:lnSpc>
                <a:spcPts val="2250"/>
              </a:lnSpc>
            </a:pPr>
            <a:r>
              <a:rPr lang="en-US" altLang="zh-CN" sz="1400" dirty="0"/>
              <a:t>Mechanical handling</a:t>
            </a:r>
          </a:p>
          <a:p>
            <a:pPr marL="458782" lvl="1" indent="-257175" defTabSz="914378"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70MW motor weighs up to 120T</a:t>
            </a:r>
          </a:p>
          <a:p>
            <a:pPr marL="458782" lvl="1" indent="-257175" defTabSz="914378"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Rotor weighs 20+T</a:t>
            </a:r>
          </a:p>
          <a:p>
            <a:pPr>
              <a:lnSpc>
                <a:spcPts val="2250"/>
              </a:lnSpc>
            </a:pPr>
            <a:r>
              <a:rPr lang="en-US" sz="1400" dirty="0"/>
              <a:t>Vibration performance of the package</a:t>
            </a:r>
          </a:p>
          <a:p>
            <a:pPr>
              <a:lnSpc>
                <a:spcPts val="2250"/>
              </a:lnSpc>
            </a:pPr>
            <a:r>
              <a:rPr lang="en-US" sz="1400" dirty="0"/>
              <a:t>Heavy weights, stiff skids</a:t>
            </a:r>
          </a:p>
          <a:p>
            <a:pPr marL="458782" lvl="1" indent="-257175" defTabSz="914378">
              <a:spcAft>
                <a:spcPts val="339"/>
              </a:spcAft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The skid has to cope with much higher deflection than onshore</a:t>
            </a:r>
          </a:p>
          <a:p>
            <a:pPr marL="458782" lvl="1" indent="-257175" defTabSz="914378">
              <a:spcAft>
                <a:spcPts val="339"/>
              </a:spcAft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3 points with gimbal support</a:t>
            </a:r>
          </a:p>
          <a:p>
            <a:pPr>
              <a:lnSpc>
                <a:spcPts val="2250"/>
              </a:lnSpc>
            </a:pPr>
            <a:endParaRPr lang="en-US" sz="1425" dirty="0"/>
          </a:p>
          <a:p>
            <a:pPr>
              <a:lnSpc>
                <a:spcPts val="2250"/>
              </a:lnSpc>
            </a:pPr>
            <a:endParaRPr lang="en-US" sz="1425" dirty="0"/>
          </a:p>
        </p:txBody>
      </p:sp>
      <p:pic>
        <p:nvPicPr>
          <p:cNvPr id="5" name="图形 4" descr="穿着POLO衫的男人">
            <a:extLst>
              <a:ext uri="{FF2B5EF4-FFF2-40B4-BE49-F238E27FC236}">
                <a16:creationId xmlns:a16="http://schemas.microsoft.com/office/drawing/2014/main" id="{18459D9E-F07B-101E-989A-B94F60F043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7962" y="1747918"/>
            <a:ext cx="142578" cy="447402"/>
          </a:xfrm>
          <a:prstGeom prst="rect">
            <a:avLst/>
          </a:prstGeom>
        </p:spPr>
      </p:pic>
      <p:sp>
        <p:nvSpPr>
          <p:cNvPr id="3" name="对话气泡: 圆角矩形 14">
            <a:extLst>
              <a:ext uri="{FF2B5EF4-FFF2-40B4-BE49-F238E27FC236}">
                <a16:creationId xmlns:a16="http://schemas.microsoft.com/office/drawing/2014/main" id="{A12F3775-B93C-6B5C-7C2F-4F98E7D2096F}"/>
              </a:ext>
            </a:extLst>
          </p:cNvPr>
          <p:cNvSpPr/>
          <p:nvPr/>
        </p:nvSpPr>
        <p:spPr>
          <a:xfrm>
            <a:off x="3243263" y="4186238"/>
            <a:ext cx="2185988" cy="652017"/>
          </a:xfrm>
          <a:prstGeom prst="wedgeRoundRectCallout">
            <a:avLst>
              <a:gd name="adj1" fmla="val 43347"/>
              <a:gd name="adj2" fmla="val -94618"/>
              <a:gd name="adj3" fmla="val 16667"/>
            </a:avLst>
          </a:prstGeom>
          <a:solidFill>
            <a:srgbClr val="0098C7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defTabSz="658265"/>
            <a:endParaRPr lang="en-GB" altLang="zh-CN" sz="1425" spc="-45" dirty="0">
              <a:solidFill>
                <a:schemeClr val="bg1"/>
              </a:solidFill>
              <a:latin typeface="Source Sans 3 SemiBold" panose="020B0303030403020204" pitchFamily="34" charset="0"/>
            </a:endParaRPr>
          </a:p>
          <a:p>
            <a:pPr defTabSz="658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Source Sans 3" panose="020B0303030403020204" pitchFamily="34" charset="0"/>
                <a:ea typeface="宋体" pitchFamily="2" charset="-122"/>
              </a:rPr>
              <a:t>Feasibility proven by skid design with proposed compressor and motor</a:t>
            </a:r>
          </a:p>
          <a:p>
            <a:pPr defTabSz="658265"/>
            <a:endParaRPr lang="en-GB" sz="1425" spc="-45" dirty="0">
              <a:solidFill>
                <a:schemeClr val="bg1"/>
              </a:solidFill>
              <a:latin typeface="Source Sans 3 SemiBold" panose="020B0303030403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A30596B-0B57-F343-4681-33F816B7D8B5}"/>
              </a:ext>
            </a:extLst>
          </p:cNvPr>
          <p:cNvSpPr txBox="1"/>
          <p:nvPr/>
        </p:nvSpPr>
        <p:spPr>
          <a:xfrm>
            <a:off x="7108542" y="3987542"/>
            <a:ext cx="1450247" cy="59771"/>
          </a:xfrm>
          <a:prstGeom prst="rect">
            <a:avLst/>
          </a:prstGeom>
        </p:spPr>
        <p:txBody>
          <a:bodyPr vert="horz" wrap="square" lIns="68580" tIns="34290" rIns="68580" bIns="34290" rtlCol="0" anchor="b">
            <a:noAutofit/>
          </a:bodyPr>
          <a:lstStyle/>
          <a:p>
            <a:pPr>
              <a:lnSpc>
                <a:spcPts val="450"/>
              </a:lnSpc>
            </a:pPr>
            <a:r>
              <a:rPr lang="en-US" altLang="zh-CN" sz="525" spc="-45" dirty="0">
                <a:solidFill>
                  <a:srgbClr val="18295B"/>
                </a:solidFill>
              </a:rPr>
              <a:t>Copyright 2025 Baker Hughes Company, all rights reserved</a:t>
            </a:r>
            <a:endParaRPr lang="zh-CN" altLang="en-US" sz="525" spc="-45" dirty="0">
              <a:solidFill>
                <a:srgbClr val="182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1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3E89B157-BFC1-26A1-883A-59B6E4130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The studies carried out towards TRL3 (Ready for FEED)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A2DAAD6-E625-03ED-FE8E-6D7E98997AF5}"/>
              </a:ext>
            </a:extLst>
          </p:cNvPr>
          <p:cNvGrpSpPr/>
          <p:nvPr/>
        </p:nvGrpSpPr>
        <p:grpSpPr>
          <a:xfrm>
            <a:off x="166373" y="843352"/>
            <a:ext cx="7947493" cy="3781472"/>
            <a:chOff x="-4961358" y="1885582"/>
            <a:chExt cx="19621931" cy="8925005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D482B2D8-1803-A451-665B-170DFF4F3EA6}"/>
                </a:ext>
              </a:extLst>
            </p:cNvPr>
            <p:cNvSpPr/>
            <p:nvPr/>
          </p:nvSpPr>
          <p:spPr>
            <a:xfrm>
              <a:off x="-4961358" y="2343493"/>
              <a:ext cx="11453813" cy="50146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dirty="0">
                <a:solidFill>
                  <a:prstClr val="white"/>
                </a:solidFill>
                <a:latin typeface="等线" panose="020F0502020204030204"/>
                <a:ea typeface="等线" panose="02010600030101010101" pitchFamily="2" charset="-122"/>
              </a:endParaRPr>
            </a:p>
          </p:txBody>
        </p:sp>
        <p:graphicFrame>
          <p:nvGraphicFramePr>
            <p:cNvPr id="5" name="内容占位符 1">
              <a:extLst>
                <a:ext uri="{FF2B5EF4-FFF2-40B4-BE49-F238E27FC236}">
                  <a16:creationId xmlns:a16="http://schemas.microsoft.com/office/drawing/2014/main" id="{D92A8C24-9ADB-2002-8E58-7B20B1CC182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64593651"/>
                </p:ext>
              </p:extLst>
            </p:nvPr>
          </p:nvGraphicFramePr>
          <p:xfrm>
            <a:off x="-4380704" y="1885582"/>
            <a:ext cx="19041277" cy="8925005"/>
          </p:xfrm>
          <a:graphic>
            <a:graphicData uri="http://schemas.openxmlformats.org/drawingml/2006/table">
              <a:tbl>
                <a:tblPr firstRow="1" bandRow="1">
                  <a:tableStyleId>{8799B23B-EC83-4686-B30A-512413B5E67A}</a:tableStyleId>
                </a:tblPr>
                <a:tblGrid>
                  <a:gridCol w="1465003">
                    <a:extLst>
                      <a:ext uri="{9D8B030D-6E8A-4147-A177-3AD203B41FA5}">
                        <a16:colId xmlns:a16="http://schemas.microsoft.com/office/drawing/2014/main" val="3647292088"/>
                      </a:ext>
                    </a:extLst>
                  </a:gridCol>
                  <a:gridCol w="3970801">
                    <a:extLst>
                      <a:ext uri="{9D8B030D-6E8A-4147-A177-3AD203B41FA5}">
                        <a16:colId xmlns:a16="http://schemas.microsoft.com/office/drawing/2014/main" val="2580993348"/>
                      </a:ext>
                    </a:extLst>
                  </a:gridCol>
                  <a:gridCol w="1138253">
                    <a:extLst>
                      <a:ext uri="{9D8B030D-6E8A-4147-A177-3AD203B41FA5}">
                        <a16:colId xmlns:a16="http://schemas.microsoft.com/office/drawing/2014/main" val="1296654873"/>
                      </a:ext>
                    </a:extLst>
                  </a:gridCol>
                  <a:gridCol w="1138253">
                    <a:extLst>
                      <a:ext uri="{9D8B030D-6E8A-4147-A177-3AD203B41FA5}">
                        <a16:colId xmlns:a16="http://schemas.microsoft.com/office/drawing/2014/main" val="1546128352"/>
                      </a:ext>
                    </a:extLst>
                  </a:gridCol>
                </a:tblGrid>
                <a:tr h="236342"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bg1"/>
                            </a:solidFill>
                            <a:latin typeface="Source Sans 3" panose="020B0303030403020204"/>
                          </a:rPr>
                          <a:t>Component</a:t>
                        </a:r>
                        <a:endParaRPr lang="en-US" altLang="zh-CN" sz="1400" b="0" kern="1200" spc="0" baseline="0" dirty="0">
                          <a:solidFill>
                            <a:schemeClr val="bg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>
                      <a:solidFill>
                        <a:srgbClr val="0098C7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bg1"/>
                            </a:solidFill>
                            <a:latin typeface="Source Sans 3" panose="020B0303030403020204"/>
                          </a:rPr>
                          <a:t>Study</a:t>
                        </a:r>
                        <a:endParaRPr lang="zh-CN" altLang="en-US" sz="1400" b="0" kern="1200" spc="0" baseline="0" dirty="0">
                          <a:solidFill>
                            <a:schemeClr val="bg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>
                      <a:solidFill>
                        <a:srgbClr val="0098C7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bg1"/>
                            </a:solidFill>
                            <a:latin typeface="Source Sans 3" panose="020B0303030403020204"/>
                          </a:rPr>
                          <a:t>TRL before</a:t>
                        </a:r>
                        <a:endParaRPr lang="zh-CN" altLang="en-US" sz="1400" b="0" kern="1200" spc="0" baseline="0" dirty="0">
                          <a:solidFill>
                            <a:schemeClr val="bg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>
                      <a:solidFill>
                        <a:srgbClr val="0098C7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bg1"/>
                            </a:solidFill>
                            <a:latin typeface="Source Sans 3" panose="020B0303030403020204"/>
                          </a:rPr>
                          <a:t>TRL after</a:t>
                        </a:r>
                        <a:endParaRPr lang="zh-CN" altLang="en-US" sz="1400" b="0" kern="1200" spc="0" baseline="0" dirty="0">
                          <a:solidFill>
                            <a:schemeClr val="bg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>
                      <a:solidFill>
                        <a:srgbClr val="0098C7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378742770"/>
                    </a:ext>
                  </a:extLst>
                </a:tr>
                <a:tr h="236342"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Compressor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Compressor selectio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7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7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extLst>
                    <a:ext uri="{0D108BD9-81ED-4DB2-BD59-A6C34878D82A}">
                      <a16:rowId xmlns:a16="http://schemas.microsoft.com/office/drawing/2014/main" val="996255136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Compressor mechanical configuratio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2646656475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Compressor rotor-dynamic analysis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2422525445"/>
                    </a:ext>
                  </a:extLst>
                </a:tr>
                <a:tr h="236342"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Motor and VFD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Electric motor &amp; VFD selectio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7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 rowSpan="3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7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extLst>
                    <a:ext uri="{0D108BD9-81ED-4DB2-BD59-A6C34878D82A}">
                      <a16:rowId xmlns:a16="http://schemas.microsoft.com/office/drawing/2014/main" val="1876411654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Motor-compressor GA (preliminary)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3529951360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3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Availability &amp; reliability assessment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1610609866"/>
                    </a:ext>
                  </a:extLst>
                </a:tr>
                <a:tr h="236342">
                  <a:tc rowSpan="7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Skid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Baseplate selection/desig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rowSpan="7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2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 rowSpan="7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3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extLst>
                    <a:ext uri="{0D108BD9-81ED-4DB2-BD59-A6C34878D82A}">
                      <a16:rowId xmlns:a16="http://schemas.microsoft.com/office/drawing/2014/main" val="953394599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Pitch and roll analysis (Lube oil, Axial thrust etc.)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2168918960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Torsional analysis for complete trai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2070877787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Dynamic simulation @ start-up, and ramp 70-105%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319369134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Determine max tolerable deflection for motor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1943298987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Final baseplate report (static &amp; dynamic analysis)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466004262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Final motor-compressor GA &amp; report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941452135"/>
                    </a:ext>
                  </a:extLst>
                </a:tr>
                <a:tr h="236342">
                  <a:tc rowSpan="2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Integratio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Electrical system desig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rowSpan="2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  <a:ea typeface="+mn-ea"/>
                            <a:cs typeface="+mn-cs"/>
                          </a:rPr>
                          <a:t>n/a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tc rowSpan="2"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  <a:ea typeface="+mn-ea"/>
                            <a:cs typeface="+mn-cs"/>
                          </a:rPr>
                          <a:t>n/a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 anchor="ctr"/>
                  </a:tc>
                  <a:extLst>
                    <a:ext uri="{0D108BD9-81ED-4DB2-BD59-A6C34878D82A}">
                      <a16:rowId xmlns:a16="http://schemas.microsoft.com/office/drawing/2014/main" val="3731389747"/>
                    </a:ext>
                  </a:extLst>
                </a:tr>
                <a:tr h="236342"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>
                    <a:txBody>
                      <a:bodyPr/>
                      <a:lstStyle/>
                      <a:p>
                        <a:pPr marL="0" algn="ctr" defTabSz="914400" rtl="0" eaLnBrk="1" latinLnBrk="0" hangingPunct="1">
                          <a:lnSpc>
                            <a:spcPct val="100000"/>
                          </a:lnSpc>
                          <a:spcAft>
                            <a:spcPts val="300"/>
                          </a:spcAft>
                          <a:buNone/>
                        </a:pPr>
                        <a:r>
                          <a:rPr lang="en-US" altLang="zh-CN" sz="1400" b="0" kern="1200" spc="0" baseline="0" dirty="0">
                            <a:solidFill>
                              <a:schemeClr val="tx1"/>
                            </a:solidFill>
                            <a:latin typeface="Source Sans 3" panose="020B0303030403020204"/>
                          </a:rPr>
                          <a:t>Typical layout on FLNG, mechanical handling plan</a:t>
                        </a:r>
                        <a:endParaRPr lang="zh-CN" altLang="en-US" sz="1400" b="0" kern="1200" spc="0" baseline="0" dirty="0">
                          <a:solidFill>
                            <a:schemeClr val="tx1"/>
                          </a:solidFill>
                          <a:latin typeface="Source Sans 3" panose="020B0303030403020204"/>
                          <a:ea typeface="+mn-ea"/>
                          <a:cs typeface="+mn-cs"/>
                        </a:endParaRPr>
                      </a:p>
                    </a:txBody>
                    <a:tcPr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tc vMerge="1">
                    <a:txBody>
                      <a:bodyPr/>
                      <a:lstStyle/>
                      <a:p>
                        <a:pPr marL="0" algn="just" defTabSz="914400" rtl="0" eaLnBrk="1" latinLnBrk="0" hangingPunct="1">
                          <a:lnSpc>
                            <a:spcPct val="115000"/>
                          </a:lnSpc>
                          <a:spcAft>
                            <a:spcPts val="800"/>
                          </a:spcAft>
                          <a:buNone/>
                        </a:pPr>
                        <a:endParaRPr lang="zh-CN" altLang="en-US" sz="1400" b="0" u="none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580" marR="68580" marT="0" marB="0"/>
                  </a:tc>
                  <a:extLst>
                    <a:ext uri="{0D108BD9-81ED-4DB2-BD59-A6C34878D82A}">
                      <a16:rowId xmlns:a16="http://schemas.microsoft.com/office/drawing/2014/main" val="3317496083"/>
                    </a:ext>
                  </a:extLst>
                </a:tr>
              </a:tbl>
            </a:graphicData>
          </a:graphic>
        </p:graphicFrame>
      </p:grp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5382F7A-5989-9F64-B671-0C57141CC038}"/>
              </a:ext>
            </a:extLst>
          </p:cNvPr>
          <p:cNvSpPr txBox="1">
            <a:spLocks/>
          </p:cNvSpPr>
          <p:nvPr/>
        </p:nvSpPr>
        <p:spPr>
          <a:xfrm>
            <a:off x="102444" y="4611479"/>
            <a:ext cx="8640000" cy="35004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00025" indent="-2000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n"/>
              <a:tabLst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06400" indent="-204788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u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83200" indent="-179388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p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3960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ea"/>
              <a:buAutoNum type="ea1JpnChsDbPeriod"/>
              <a:tabLst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06800" indent="-2736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583200" indent="-2592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lphaLcParenR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 defTabSz="685800" fontAlgn="auto">
              <a:lnSpc>
                <a:spcPts val="2250"/>
              </a:lnSpc>
              <a:spcBef>
                <a:spcPts val="750"/>
              </a:spcBef>
              <a:spcAft>
                <a:spcPts val="600"/>
              </a:spcAft>
              <a:buClr>
                <a:srgbClr val="4472C4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8295B"/>
                </a:solidFill>
                <a:latin typeface="Source Sans 3" panose="020B0303030403020204" pitchFamily="34" charset="0"/>
              </a:rPr>
              <a:t>TRL7=system proven; TRL3=Ready for FEED; TRL2=concept (Wison adaption of API 17N TRL)</a:t>
            </a:r>
            <a:endParaRPr lang="en-US" sz="1200" dirty="0">
              <a:solidFill>
                <a:srgbClr val="18295B"/>
              </a:solidFill>
              <a:latin typeface="Source Sans 3" panose="020B0303030403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CEAB74B6-D8BD-4305-EDDD-6522D7A08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From One Generation to the Next</a:t>
            </a:r>
            <a:endParaRPr lang="zh-CN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ED4E0-8F26-C335-F36E-71ABDF57832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8" y="1635646"/>
            <a:ext cx="7548314" cy="2009775"/>
          </a:xfrm>
        </p:spPr>
        <p:txBody>
          <a:bodyPr>
            <a:normAutofit/>
          </a:bodyPr>
          <a:lstStyle/>
          <a:p>
            <a:r>
              <a:rPr lang="en-US" sz="1800" dirty="0"/>
              <a:t>Wison’s Product Strategy</a:t>
            </a:r>
          </a:p>
          <a:p>
            <a:r>
              <a:rPr lang="en-US" sz="1800" dirty="0"/>
              <a:t>Wison Generation 2 FLNG (2024)</a:t>
            </a:r>
          </a:p>
          <a:p>
            <a:r>
              <a:rPr lang="en-US" sz="1800" dirty="0"/>
              <a:t>Wison Generation 2 e-FLNG (2025)</a:t>
            </a:r>
          </a:p>
          <a:p>
            <a:r>
              <a:rPr lang="en-US" sz="18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427569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102A3-9CC9-5C8C-267C-CE8B3CF58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5CC560-F38A-1532-ADB7-1E619D6898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304FB5-87BE-426E-BB22-9AC58353C6F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8EA0FE4-9555-E853-37C5-F020BA7185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D888EC-D840-7475-84FD-9EBD9297E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lusion Generation 2 e-FL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80526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A7BDC-5F7D-C23A-8F43-B1EC88D13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6D3FD8F-7039-5805-C5E4-0659BFA3EFF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8" y="1203325"/>
            <a:ext cx="8729663" cy="3281362"/>
          </a:xfrm>
        </p:spPr>
        <p:txBody>
          <a:bodyPr>
            <a:normAutofit/>
          </a:bodyPr>
          <a:lstStyle/>
          <a:p>
            <a:pPr>
              <a:lnSpc>
                <a:spcPts val="2250"/>
              </a:lnSpc>
            </a:pPr>
            <a:r>
              <a:rPr lang="en-US" altLang="zh-CN" sz="1400" dirty="0"/>
              <a:t>Two Generation 1 FLNGs (with less than 0.3 tCO2e/</a:t>
            </a:r>
            <a:r>
              <a:rPr lang="en-US" altLang="zh-CN" sz="1400" dirty="0" err="1"/>
              <a:t>tLNG</a:t>
            </a:r>
            <a:r>
              <a:rPr lang="en-US" altLang="zh-CN" sz="1400" dirty="0"/>
              <a:t> emission) are currently in execution.</a:t>
            </a:r>
          </a:p>
          <a:p>
            <a:pPr>
              <a:lnSpc>
                <a:spcPts val="2250"/>
              </a:lnSpc>
            </a:pPr>
            <a:endParaRPr lang="en-US" altLang="zh-CN" sz="1400" dirty="0"/>
          </a:p>
          <a:p>
            <a:pPr>
              <a:lnSpc>
                <a:spcPts val="2250"/>
              </a:lnSpc>
            </a:pPr>
            <a:r>
              <a:rPr lang="en-US" altLang="zh-CN" sz="1400" dirty="0"/>
              <a:t>Wison expands the Generation 2 FLNG catalogue, aiming at reducing emission to less than 0.2 tCO2e/</a:t>
            </a:r>
            <a:r>
              <a:rPr lang="en-US" altLang="zh-CN" sz="1400" dirty="0" err="1"/>
              <a:t>tLNG</a:t>
            </a:r>
            <a:r>
              <a:rPr lang="en-US" altLang="zh-CN" sz="1400" dirty="0"/>
              <a:t> with the addition of an all-electric e-FLNG using a Shell DMR liquefaction system targeting 3.6 </a:t>
            </a:r>
            <a:r>
              <a:rPr lang="en-US" altLang="zh-CN" sz="1400" dirty="0" err="1"/>
              <a:t>mtpa</a:t>
            </a:r>
            <a:r>
              <a:rPr lang="en-US" altLang="zh-CN" sz="1400" dirty="0"/>
              <a:t> capacity with motor driven mixed refrigerant compressors (MRC).</a:t>
            </a:r>
          </a:p>
          <a:p>
            <a:pPr marL="458782" lvl="1" indent="-257175" defTabSz="914378"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These new technologies are introduced following a strict technology qualification process, to achieve TRL 3 level (Ready for FEED), with no significant increase in project risk.</a:t>
            </a:r>
          </a:p>
          <a:p>
            <a:pPr marL="200025" lvl="1" indent="-200025">
              <a:lnSpc>
                <a:spcPts val="2250"/>
              </a:lnSpc>
              <a:buFont typeface="Wingdings" panose="05000000000000000000" pitchFamily="2" charset="2"/>
              <a:buChar char="n"/>
              <a:defRPr/>
            </a:pPr>
            <a:endParaRPr lang="en-US" altLang="zh-CN" dirty="0"/>
          </a:p>
          <a:p>
            <a:pPr>
              <a:lnSpc>
                <a:spcPts val="2250"/>
              </a:lnSpc>
            </a:pPr>
            <a:r>
              <a:rPr lang="en-US" altLang="zh-CN" sz="1400" dirty="0"/>
              <a:t>This solution offers some of the building blocks for the Generation 3 FLNG with renewable power import aiming to achieve emissions below 0.1 t CO2e/t LNG</a:t>
            </a:r>
          </a:p>
          <a:p>
            <a:pPr>
              <a:lnSpc>
                <a:spcPts val="2250"/>
              </a:lnSpc>
            </a:pPr>
            <a:endParaRPr lang="en-US" sz="1425" dirty="0"/>
          </a:p>
          <a:p>
            <a:pPr>
              <a:lnSpc>
                <a:spcPts val="2250"/>
              </a:lnSpc>
            </a:pPr>
            <a:endParaRPr lang="en-US" sz="1425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E9ACBDA5-024C-20A3-5323-5F220DDA9127}"/>
              </a:ext>
            </a:extLst>
          </p:cNvPr>
          <p:cNvSpPr txBox="1"/>
          <p:nvPr/>
        </p:nvSpPr>
        <p:spPr>
          <a:xfrm>
            <a:off x="4869342" y="1388633"/>
            <a:ext cx="3805376" cy="1424385"/>
          </a:xfrm>
          <a:prstGeom prst="rect">
            <a:avLst/>
          </a:prstGeom>
        </p:spPr>
        <p:txBody>
          <a:bodyPr vert="horz" lIns="38710" tIns="19355" rIns="38710" bIns="19355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96764" indent="-96764" defTabSz="387056" fontAlgn="auto">
              <a:spcBef>
                <a:spcPts val="423"/>
              </a:spcBef>
              <a:spcAft>
                <a:spcPts val="0"/>
              </a:spcAft>
              <a:defRPr/>
            </a:pPr>
            <a:endParaRPr lang="zh-CN" altLang="en-US" sz="1355" dirty="0">
              <a:solidFill>
                <a:prstClr val="white">
                  <a:lumMod val="85000"/>
                </a:prstClr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" name="标题 8">
            <a:extLst>
              <a:ext uri="{FF2B5EF4-FFF2-40B4-BE49-F238E27FC236}">
                <a16:creationId xmlns:a16="http://schemas.microsoft.com/office/drawing/2014/main" id="{E3AA0459-6DF5-8589-7E4B-6C3158CE9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9" y="454785"/>
            <a:ext cx="7200000" cy="298800"/>
          </a:xfrm>
        </p:spPr>
        <p:txBody>
          <a:bodyPr/>
          <a:lstStyle/>
          <a:p>
            <a:r>
              <a:rPr lang="en-US" altLang="zh-CN" sz="2400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147064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与飘带图片Logo&amp;Ribbon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6" name="结束页EndSlide"/>
          <p:cNvGrpSpPr/>
          <p:nvPr/>
        </p:nvGrpSpPr>
        <p:grpSpPr>
          <a:xfrm>
            <a:off x="252000" y="1728000"/>
            <a:ext cx="6732000" cy="1191600"/>
            <a:chOff x="252000" y="1728000"/>
            <a:chExt cx="6732000" cy="1191600"/>
          </a:xfrm>
        </p:grpSpPr>
        <p:sp>
          <p:nvSpPr>
            <p:cNvPr id="7" name="公司信息InformationTextFrame"/>
            <p:cNvSpPr/>
            <p:nvPr userDrawn="1"/>
          </p:nvSpPr>
          <p:spPr>
            <a:xfrm>
              <a:off x="2844000" y="1728000"/>
              <a:ext cx="4140000" cy="1191095"/>
            </a:xfrm>
            <a:prstGeom prst="accentCallout1">
              <a:avLst>
                <a:gd name="adj1" fmla="val 18750"/>
                <a:gd name="adj2" fmla="val -8333"/>
                <a:gd name="adj3" fmla="val 18754"/>
                <a:gd name="adj4" fmla="val -8337"/>
              </a:avLst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lvl="0">
                <a:spcBef>
                  <a:spcPts val="0"/>
                </a:spcBef>
                <a:spcAft>
                  <a:spcPts val="600"/>
                </a:spcAft>
              </a:pPr>
              <a:r>
                <a:rPr lang="en-US" altLang="zh-CN" sz="16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ison</a:t>
              </a:r>
              <a:r>
                <a:rPr lang="en-US" altLang="zh-CN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New Energies Co., Ltd</a:t>
              </a:r>
              <a:endParaRPr lang="zh-CN" altLang="en-US" sz="1600" b="1" baseline="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0" lvl="1" indent="-457200">
                <a:lnSpc>
                  <a:spcPct val="100000"/>
                </a:lnSpc>
                <a:spcBef>
                  <a:spcPts val="300"/>
                </a:spcBef>
              </a:pPr>
              <a:r>
                <a:rPr lang="en-US" altLang="zh-CN" sz="1160" baseline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33 Zhongke Road, Zhangjiang, Pudong, Shanghai, </a:t>
              </a:r>
            </a:p>
            <a:p>
              <a:pPr marL="0" lvl="1" indent="-457200">
                <a:lnSpc>
                  <a:spcPct val="100000"/>
                </a:lnSpc>
                <a:spcBef>
                  <a:spcPts val="300"/>
                </a:spcBef>
              </a:pPr>
              <a:r>
                <a:rPr lang="en-US" altLang="zh-CN" sz="1160" baseline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210, P.R. China</a:t>
              </a:r>
            </a:p>
            <a:p>
              <a:pPr marL="0" lvl="1" indent="-914400">
                <a:lnSpc>
                  <a:spcPct val="100000"/>
                </a:lnSpc>
                <a:spcBef>
                  <a:spcPts val="300"/>
                </a:spcBef>
              </a:pPr>
              <a:r>
                <a:rPr lang="en-US" altLang="zh-CN" sz="1160" baseline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el: +86-21-2030 6000</a:t>
              </a:r>
            </a:p>
            <a:p>
              <a:pPr marL="0" lvl="1" indent="-914400">
                <a:lnSpc>
                  <a:spcPct val="100000"/>
                </a:lnSpc>
                <a:spcBef>
                  <a:spcPts val="300"/>
                </a:spcBef>
              </a:pPr>
              <a:r>
                <a:rPr lang="en-US" altLang="zh-CN" sz="1160" baseline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wison-energies.com</a:t>
              </a:r>
            </a:p>
          </p:txBody>
        </p:sp>
        <p:sp>
          <p:nvSpPr>
            <p:cNvPr id="8" name="谢谢ThankyouTextFrame"/>
            <p:cNvSpPr txBox="1"/>
            <p:nvPr userDrawn="1"/>
          </p:nvSpPr>
          <p:spPr>
            <a:xfrm>
              <a:off x="252000" y="1728000"/>
              <a:ext cx="1980000" cy="1191600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>
                <a:tabLst/>
              </a:pPr>
              <a:r>
                <a:rPr lang="en-US" altLang="zh-CN" sz="3200" b="1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</a:rPr>
                <a:t>Thank you</a:t>
              </a:r>
              <a:endParaRPr lang="zh-CN" altLang="en-US" sz="32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2769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75D2A-6E9F-FD40-640F-8ABDBA94A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1A55F08E-33C3-2B80-D031-32D136669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Wison’s Product Strategy for the FLNG</a:t>
            </a:r>
            <a:endParaRPr lang="zh-CN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4866DA-527C-7C5D-F1A3-97B60994307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512" y="1203598"/>
            <a:ext cx="7943850" cy="2928937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70000"/>
              </a:lnSpc>
            </a:pPr>
            <a:r>
              <a:rPr lang="en-US" altLang="zh-CN" sz="1800" dirty="0"/>
              <a:t>Wison has pioneered FLNG development since the first FLNG (Tango)was built and commissioned in 2015.</a:t>
            </a:r>
          </a:p>
          <a:p>
            <a:pPr>
              <a:lnSpc>
                <a:spcPct val="170000"/>
              </a:lnSpc>
            </a:pPr>
            <a:r>
              <a:rPr lang="en-US" altLang="zh-CN" sz="1800" dirty="0"/>
              <a:t>Wison has a core program of FLNG Development for a standardized FLNG.</a:t>
            </a:r>
          </a:p>
          <a:p>
            <a:pPr marL="458782" lvl="1" indent="-257175" defTabSz="914378">
              <a:lnSpc>
                <a:spcPct val="170000"/>
              </a:lnSpc>
              <a:spcBef>
                <a:spcPts val="0"/>
              </a:spcBef>
              <a:buClr>
                <a:srgbClr val="FF0000"/>
              </a:buClr>
              <a:buSzPct val="70000"/>
              <a:defRPr/>
            </a:pPr>
            <a:r>
              <a:rPr lang="en-US" altLang="zh-CN" sz="1725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Main features and interfaces are pre-defined, and overall arrangement follows an inherently safe design. </a:t>
            </a:r>
          </a:p>
          <a:p>
            <a:pPr marL="458782" lvl="1" indent="-257175" defTabSz="914378">
              <a:lnSpc>
                <a:spcPct val="170000"/>
              </a:lnSpc>
              <a:spcBef>
                <a:spcPts val="0"/>
              </a:spcBef>
              <a:buClr>
                <a:srgbClr val="FF0000"/>
              </a:buClr>
              <a:buSzPct val="70000"/>
              <a:defRPr/>
            </a:pPr>
            <a:r>
              <a:rPr lang="en-US" altLang="zh-CN" sz="1725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An ever-expanding catalogue of FLNG solutions and building blocks </a:t>
            </a:r>
          </a:p>
          <a:p>
            <a:pPr marL="458782" lvl="1" indent="-257175" defTabSz="914378">
              <a:lnSpc>
                <a:spcPct val="170000"/>
              </a:lnSpc>
              <a:spcBef>
                <a:spcPts val="0"/>
              </a:spcBef>
              <a:buClr>
                <a:srgbClr val="FF0000"/>
              </a:buClr>
              <a:buSzPct val="70000"/>
              <a:defRPr/>
            </a:pPr>
            <a:r>
              <a:rPr lang="en-US" altLang="zh-CN" sz="1725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Standardized building blocks used customized to Client needs, within the design envelope. </a:t>
            </a:r>
          </a:p>
          <a:p>
            <a:pPr marL="458782" lvl="1" indent="-257175" defTabSz="914378">
              <a:lnSpc>
                <a:spcPct val="170000"/>
              </a:lnSpc>
              <a:spcBef>
                <a:spcPts val="0"/>
              </a:spcBef>
              <a:buClr>
                <a:srgbClr val="FF0000"/>
              </a:buClr>
              <a:buSzPct val="70000"/>
              <a:defRPr/>
            </a:pPr>
            <a:r>
              <a:rPr lang="en-US" altLang="zh-CN" sz="1725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Wison Generation 1 FLNG has been created - two FLNGs are being built based on this core program.</a:t>
            </a:r>
          </a:p>
          <a:p>
            <a:pPr>
              <a:lnSpc>
                <a:spcPct val="170000"/>
              </a:lnSpc>
            </a:pPr>
            <a:r>
              <a:rPr lang="en-US" altLang="zh-CN" sz="1800" dirty="0"/>
              <a:t>Wison Generation 2 FLNG is the next evolution of the core program. </a:t>
            </a:r>
          </a:p>
          <a:p>
            <a:pPr marL="458782" lvl="1" indent="-257175" defTabSz="914378">
              <a:lnSpc>
                <a:spcPct val="170000"/>
              </a:lnSpc>
              <a:buClr>
                <a:srgbClr val="FF0000"/>
              </a:buClr>
              <a:defRPr/>
            </a:pPr>
            <a:r>
              <a:rPr lang="en-US" altLang="zh-CN" sz="17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The objective is to achieve CO2 emissions below 0.2 tCO2e/</a:t>
            </a:r>
            <a:r>
              <a:rPr lang="en-US" altLang="zh-CN" sz="1700" dirty="0" err="1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tLNG</a:t>
            </a:r>
            <a:r>
              <a:rPr lang="en-US" altLang="zh-CN" sz="17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.</a:t>
            </a:r>
          </a:p>
          <a:p>
            <a:pPr>
              <a:lnSpc>
                <a:spcPts val="2250"/>
              </a:lnSpc>
            </a:pPr>
            <a:endParaRPr lang="en-US" altLang="zh-CN" sz="1800" dirty="0"/>
          </a:p>
          <a:p>
            <a:pPr>
              <a:lnSpc>
                <a:spcPts val="2250"/>
              </a:lnSpc>
            </a:pPr>
            <a:endParaRPr lang="en-US" altLang="zh-CN" sz="1700" dirty="0">
              <a:solidFill>
                <a:schemeClr val="bg1">
                  <a:lumMod val="50000"/>
                </a:schemeClr>
              </a:solidFill>
              <a:latin typeface="Source Sans 3" panose="020B0303030403020204" pitchFamily="34" charset="0"/>
            </a:endParaRPr>
          </a:p>
          <a:p>
            <a:pPr>
              <a:lnSpc>
                <a:spcPts val="2250"/>
              </a:lnSpc>
            </a:pPr>
            <a:endParaRPr lang="en-US" sz="1800" dirty="0"/>
          </a:p>
          <a:p>
            <a:pPr>
              <a:lnSpc>
                <a:spcPts val="225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87527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08696E-3A5E-2B9D-182B-E22E190102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06D6CA-A2DB-5830-F087-ED4EA91657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304FB5-87BE-426E-BB22-9AC58353C6F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152C4F4-7377-3B1D-1667-1826261375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- Emission Reductions</a:t>
            </a:r>
            <a:endParaRPr lang="zh-CN" alt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05F923-A2FF-C833-D68F-8CC1AF783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son Generation 2 FLNG - 202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65066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A0B74-CF00-5BCA-B7AE-B9724ED4980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57326" y="801589"/>
            <a:ext cx="8670228" cy="3600000"/>
          </a:xfrm>
        </p:spPr>
        <p:txBody>
          <a:bodyPr/>
          <a:lstStyle/>
          <a:p>
            <a:pPr>
              <a:lnSpc>
                <a:spcPts val="2250"/>
              </a:lnSpc>
            </a:pPr>
            <a:r>
              <a:rPr lang="en-US" altLang="zh-CN" sz="1400" dirty="0"/>
              <a:t>Wison Generation 2 FLNG already offers a step change in emissions – using proven and robust technology</a:t>
            </a:r>
          </a:p>
          <a:p>
            <a:pPr>
              <a:lnSpc>
                <a:spcPts val="2250"/>
              </a:lnSpc>
            </a:pPr>
            <a:r>
              <a:rPr lang="en-US" altLang="zh-CN" sz="1400" dirty="0"/>
              <a:t>Significant further reductions are possible using innovative technology solutions, once further developed and fully qualified</a:t>
            </a: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FFB92C-669C-1927-431A-258D3EF0E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68580" tIns="34290" rIns="68580" bIns="34290" anchor="ctr">
            <a:noAutofit/>
          </a:bodyPr>
          <a:lstStyle/>
          <a:p>
            <a:r>
              <a:rPr lang="en-GB" sz="1800" dirty="0"/>
              <a:t>Emission Targe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02672A8-CD11-759D-F3A5-90190CC879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5528260"/>
              </p:ext>
            </p:extLst>
          </p:nvPr>
        </p:nvGraphicFramePr>
        <p:xfrm>
          <a:off x="323528" y="1843755"/>
          <a:ext cx="3384376" cy="1295925"/>
        </p:xfrm>
        <a:graphic>
          <a:graphicData uri="http://schemas.openxmlformats.org/drawingml/2006/table">
            <a:tbl>
              <a:tblPr firstRow="1" firstCol="1" bandRow="1"/>
              <a:tblGrid>
                <a:gridCol w="2058043">
                  <a:extLst>
                    <a:ext uri="{9D8B030D-6E8A-4147-A177-3AD203B41FA5}">
                      <a16:colId xmlns:a16="http://schemas.microsoft.com/office/drawing/2014/main" val="2201567640"/>
                    </a:ext>
                  </a:extLst>
                </a:gridCol>
                <a:gridCol w="1326333">
                  <a:extLst>
                    <a:ext uri="{9D8B030D-6E8A-4147-A177-3AD203B41FA5}">
                      <a16:colId xmlns:a16="http://schemas.microsoft.com/office/drawing/2014/main" val="2169856852"/>
                    </a:ext>
                  </a:extLst>
                </a:gridCol>
              </a:tblGrid>
              <a:tr h="3746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b="1" kern="100" dirty="0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Generation</a:t>
                      </a:r>
                      <a:endParaRPr lang="zh-CN" sz="1000" kern="100" dirty="0">
                        <a:effectLst/>
                        <a:latin typeface="Helvetica"/>
                        <a:ea typeface="Yu Mincho"/>
                        <a:cs typeface="Arial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00" b="1" kern="100" dirty="0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Target Emissions</a:t>
                      </a:r>
                      <a:endParaRPr lang="zh-CN" sz="1000" kern="100" dirty="0">
                        <a:effectLst/>
                        <a:latin typeface="Helvetica"/>
                        <a:ea typeface="Yu Mincho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00" b="1" kern="100" dirty="0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tCO</a:t>
                      </a:r>
                      <a:r>
                        <a:rPr lang="en-GB" sz="1000" b="1" kern="100" baseline="-25000" dirty="0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2</a:t>
                      </a:r>
                      <a:r>
                        <a:rPr lang="en-GB" sz="1000" b="1" kern="100" dirty="0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e/</a:t>
                      </a:r>
                      <a:r>
                        <a:rPr lang="en-GB" sz="1000" b="1" kern="100" dirty="0" err="1">
                          <a:solidFill>
                            <a:srgbClr val="000000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tLNG</a:t>
                      </a:r>
                      <a:endParaRPr lang="zh-CN" sz="1000" kern="100" dirty="0" err="1">
                        <a:effectLst/>
                        <a:latin typeface="Helvetica"/>
                        <a:ea typeface="Yu Mincho"/>
                        <a:cs typeface="Arial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253206"/>
                  </a:ext>
                </a:extLst>
              </a:tr>
              <a:tr h="2405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Yu Mincho" panose="02020400000000000000" pitchFamily="18" charset="-128"/>
                          <a:cs typeface="Arial" panose="020B0604020202020204" pitchFamily="34" charset="0"/>
                        </a:rPr>
                        <a:t>Generation 1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Yu Mincho" panose="02020400000000000000" pitchFamily="18" charset="-128"/>
                          <a:cs typeface="Arial" panose="020B0604020202020204" pitchFamily="34" charset="0"/>
                        </a:rPr>
                        <a:t>&lt; 0.3 t/t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443365"/>
                  </a:ext>
                </a:extLst>
              </a:tr>
              <a:tr h="2405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Yu Mincho" panose="02020400000000000000" pitchFamily="18" charset="-128"/>
                          <a:cs typeface="Arial" panose="020B0604020202020204" pitchFamily="34" charset="0"/>
                        </a:rPr>
                        <a:t>Generation 2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kern="100" dirty="0">
                          <a:solidFill>
                            <a:schemeClr val="tx1"/>
                          </a:solidFill>
                          <a:effectLst/>
                          <a:latin typeface="Helvetica"/>
                          <a:ea typeface="Yu Mincho"/>
                          <a:cs typeface="Arial"/>
                        </a:rPr>
                        <a:t>&lt; 0.2 t/t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"/>
                        <a:ea typeface="Yu Mincho"/>
                        <a:cs typeface="Arial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303549"/>
                  </a:ext>
                </a:extLst>
              </a:tr>
              <a:tr h="4402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  <a:latin typeface="Helvetica"/>
                          <a:ea typeface="等线"/>
                          <a:cs typeface="Arial"/>
                        </a:rPr>
                        <a:t> A next Generation 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"/>
                        <a:ea typeface="等线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To be rolled-out before 2030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0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Yu Mincho" panose="02020400000000000000" pitchFamily="18" charset="-128"/>
                          <a:cs typeface="Arial" panose="020B0604020202020204" pitchFamily="34" charset="0"/>
                        </a:rPr>
                        <a:t>&lt; 0.1 t/t</a:t>
                      </a:r>
                      <a:endParaRPr lang="zh-CN" sz="10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511873"/>
                  </a:ext>
                </a:extLst>
              </a:tr>
            </a:tbl>
          </a:graphicData>
        </a:graphic>
      </p:graphicFrame>
      <p:sp>
        <p:nvSpPr>
          <p:cNvPr id="380" name="Arc 379">
            <a:extLst>
              <a:ext uri="{FF2B5EF4-FFF2-40B4-BE49-F238E27FC236}">
                <a16:creationId xmlns:a16="http://schemas.microsoft.com/office/drawing/2014/main" id="{1325CCE6-D88B-A932-4896-5F5AEFCBD715}"/>
              </a:ext>
            </a:extLst>
          </p:cNvPr>
          <p:cNvSpPr/>
          <p:nvPr/>
        </p:nvSpPr>
        <p:spPr>
          <a:xfrm rot="5400000">
            <a:off x="-532555" y="-4490581"/>
            <a:ext cx="7227740" cy="11766345"/>
          </a:xfrm>
          <a:prstGeom prst="arc">
            <a:avLst>
              <a:gd name="adj1" fmla="val 19236703"/>
              <a:gd name="adj2" fmla="val 21272079"/>
            </a:avLst>
          </a:prstGeom>
          <a:noFill/>
          <a:ln w="857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幼圆"/>
              <a:cs typeface="Calibri"/>
              <a:sym typeface="Calibri"/>
            </a:endParaRPr>
          </a:p>
        </p:txBody>
      </p:sp>
      <p:sp>
        <p:nvSpPr>
          <p:cNvPr id="381" name="Arc 380">
            <a:extLst>
              <a:ext uri="{FF2B5EF4-FFF2-40B4-BE49-F238E27FC236}">
                <a16:creationId xmlns:a16="http://schemas.microsoft.com/office/drawing/2014/main" id="{6CE9B2B2-93CE-4737-4924-4E2884C323C2}"/>
              </a:ext>
            </a:extLst>
          </p:cNvPr>
          <p:cNvSpPr/>
          <p:nvPr/>
        </p:nvSpPr>
        <p:spPr>
          <a:xfrm rot="5400000">
            <a:off x="-642153" y="-4543000"/>
            <a:ext cx="7247985" cy="11891429"/>
          </a:xfrm>
          <a:prstGeom prst="arc">
            <a:avLst>
              <a:gd name="adj1" fmla="val 17473765"/>
              <a:gd name="adj2" fmla="val 19278040"/>
            </a:avLst>
          </a:prstGeom>
          <a:noFill/>
          <a:ln w="85725" cap="flat" cmpd="sng" algn="ctr">
            <a:solidFill>
              <a:srgbClr val="3CDBC0">
                <a:lumMod val="75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幼圆"/>
              <a:cs typeface="Calibri"/>
              <a:sym typeface="Calibri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F16748C1-5FB3-06FD-E318-585A3F22773F}"/>
              </a:ext>
            </a:extLst>
          </p:cNvPr>
          <p:cNvSpPr/>
          <p:nvPr/>
        </p:nvSpPr>
        <p:spPr>
          <a:xfrm>
            <a:off x="5549774" y="4527583"/>
            <a:ext cx="226132" cy="20574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幼圆"/>
              <a:cs typeface="Calibri"/>
              <a:sym typeface="Calibri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228EFDBB-E41E-5CEE-1537-E70B516E7972}"/>
              </a:ext>
            </a:extLst>
          </p:cNvPr>
          <p:cNvSpPr/>
          <p:nvPr/>
        </p:nvSpPr>
        <p:spPr>
          <a:xfrm>
            <a:off x="3312314" y="4886290"/>
            <a:ext cx="226132" cy="20574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幼圆"/>
              <a:cs typeface="Calibri"/>
              <a:sym typeface="Calibri"/>
            </a:endParaRP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7B4E6FF-CE70-CE01-F9ED-E583346D2044}"/>
              </a:ext>
            </a:extLst>
          </p:cNvPr>
          <p:cNvGrpSpPr/>
          <p:nvPr/>
        </p:nvGrpSpPr>
        <p:grpSpPr>
          <a:xfrm>
            <a:off x="4889867" y="3304329"/>
            <a:ext cx="1473738" cy="582146"/>
            <a:chOff x="2945478" y="3975799"/>
            <a:chExt cx="2619978" cy="1034926"/>
          </a:xfrm>
          <a:solidFill>
            <a:srgbClr val="49B1FF">
              <a:lumMod val="5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0444543C-DAFA-1972-5757-9F08224BA3B1}"/>
                </a:ext>
              </a:extLst>
            </p:cNvPr>
            <p:cNvGrpSpPr/>
            <p:nvPr/>
          </p:nvGrpSpPr>
          <p:grpSpPr>
            <a:xfrm>
              <a:off x="2945478" y="3975799"/>
              <a:ext cx="2619978" cy="952403"/>
              <a:chOff x="1080729" y="2080875"/>
              <a:chExt cx="9134199" cy="2776455"/>
            </a:xfrm>
            <a:grpFill/>
          </p:grpSpPr>
          <p:sp>
            <p:nvSpPr>
              <p:cNvPr id="198" name="剪去同侧角的矩形 2">
                <a:extLst>
                  <a:ext uri="{FF2B5EF4-FFF2-40B4-BE49-F238E27FC236}">
                    <a16:creationId xmlns:a16="http://schemas.microsoft.com/office/drawing/2014/main" id="{510D9AD3-4D35-004A-AF8E-20B5DF386007}"/>
                  </a:ext>
                </a:extLst>
              </p:cNvPr>
              <p:cNvSpPr/>
              <p:nvPr/>
            </p:nvSpPr>
            <p:spPr>
              <a:xfrm rot="10800000">
                <a:off x="1549490" y="3788707"/>
                <a:ext cx="8665438" cy="1068223"/>
              </a:xfrm>
              <a:prstGeom prst="snip2SameRect">
                <a:avLst/>
              </a:prstGeom>
              <a:solidFill>
                <a:srgbClr val="002060"/>
              </a:solidFill>
              <a:ln w="12700" cap="flat" cmpd="sng" algn="ctr">
                <a:solidFill>
                  <a:srgbClr val="1B365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199" name="流程图: 手动操作 5">
                <a:extLst>
                  <a:ext uri="{FF2B5EF4-FFF2-40B4-BE49-F238E27FC236}">
                    <a16:creationId xmlns:a16="http://schemas.microsoft.com/office/drawing/2014/main" id="{0F65DA6F-1B72-CC85-979F-F403861E675D}"/>
                  </a:ext>
                </a:extLst>
              </p:cNvPr>
              <p:cNvSpPr/>
              <p:nvPr/>
            </p:nvSpPr>
            <p:spPr>
              <a:xfrm rot="10800000">
                <a:off x="9434489" y="2080875"/>
                <a:ext cx="298072" cy="1702853"/>
              </a:xfrm>
              <a:prstGeom prst="flowChartManualOperation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0" name="椭圆 8">
                <a:extLst>
                  <a:ext uri="{FF2B5EF4-FFF2-40B4-BE49-F238E27FC236}">
                    <a16:creationId xmlns:a16="http://schemas.microsoft.com/office/drawing/2014/main" id="{33210D4B-74FF-B8D7-AFB6-B0FD065838B7}"/>
                  </a:ext>
                </a:extLst>
              </p:cNvPr>
              <p:cNvSpPr/>
              <p:nvPr/>
            </p:nvSpPr>
            <p:spPr>
              <a:xfrm>
                <a:off x="9842885" y="3499670"/>
                <a:ext cx="261718" cy="258509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1" name="矩形 17">
                <a:extLst>
                  <a:ext uri="{FF2B5EF4-FFF2-40B4-BE49-F238E27FC236}">
                    <a16:creationId xmlns:a16="http://schemas.microsoft.com/office/drawing/2014/main" id="{DFA4F2F9-908E-2E6B-F47D-C6DD7ED668DA}"/>
                  </a:ext>
                </a:extLst>
              </p:cNvPr>
              <p:cNvSpPr/>
              <p:nvPr/>
            </p:nvSpPr>
            <p:spPr>
              <a:xfrm>
                <a:off x="4722760" y="3403150"/>
                <a:ext cx="144780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2" name="矩形 18">
                <a:extLst>
                  <a:ext uri="{FF2B5EF4-FFF2-40B4-BE49-F238E27FC236}">
                    <a16:creationId xmlns:a16="http://schemas.microsoft.com/office/drawing/2014/main" id="{EB2196E3-901B-CD2E-FA44-4D7D27A956B2}"/>
                  </a:ext>
                </a:extLst>
              </p:cNvPr>
              <p:cNvSpPr/>
              <p:nvPr/>
            </p:nvSpPr>
            <p:spPr>
              <a:xfrm>
                <a:off x="4684660" y="3285858"/>
                <a:ext cx="220980" cy="132530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3" name="矩形 23">
                <a:extLst>
                  <a:ext uri="{FF2B5EF4-FFF2-40B4-BE49-F238E27FC236}">
                    <a16:creationId xmlns:a16="http://schemas.microsoft.com/office/drawing/2014/main" id="{04BC3B9C-6CDD-742C-6E04-563C4C4BB996}"/>
                  </a:ext>
                </a:extLst>
              </p:cNvPr>
              <p:cNvSpPr/>
              <p:nvPr/>
            </p:nvSpPr>
            <p:spPr>
              <a:xfrm>
                <a:off x="4712600" y="3140660"/>
                <a:ext cx="167640" cy="14519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4" name="任意多边形 26">
                <a:extLst>
                  <a:ext uri="{FF2B5EF4-FFF2-40B4-BE49-F238E27FC236}">
                    <a16:creationId xmlns:a16="http://schemas.microsoft.com/office/drawing/2014/main" id="{8E454064-4CFE-C683-F19B-0F7B8D4FD424}"/>
                  </a:ext>
                </a:extLst>
              </p:cNvPr>
              <p:cNvSpPr/>
              <p:nvPr/>
            </p:nvSpPr>
            <p:spPr>
              <a:xfrm>
                <a:off x="4867540" y="3140659"/>
                <a:ext cx="916940" cy="102052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5" name="矩形 29">
                <a:extLst>
                  <a:ext uri="{FF2B5EF4-FFF2-40B4-BE49-F238E27FC236}">
                    <a16:creationId xmlns:a16="http://schemas.microsoft.com/office/drawing/2014/main" id="{E85F64D0-162C-C1CF-2557-B75E96AF7D8D}"/>
                  </a:ext>
                </a:extLst>
              </p:cNvPr>
              <p:cNvSpPr/>
              <p:nvPr/>
            </p:nvSpPr>
            <p:spPr>
              <a:xfrm>
                <a:off x="7484084" y="3403150"/>
                <a:ext cx="144780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6" name="矩形 32">
                <a:extLst>
                  <a:ext uri="{FF2B5EF4-FFF2-40B4-BE49-F238E27FC236}">
                    <a16:creationId xmlns:a16="http://schemas.microsoft.com/office/drawing/2014/main" id="{B21653D7-9363-FDD0-C117-A5992C1FDDC4}"/>
                  </a:ext>
                </a:extLst>
              </p:cNvPr>
              <p:cNvSpPr/>
              <p:nvPr/>
            </p:nvSpPr>
            <p:spPr>
              <a:xfrm>
                <a:off x="7445332" y="3285426"/>
                <a:ext cx="220980" cy="132530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7" name="矩形 33">
                <a:extLst>
                  <a:ext uri="{FF2B5EF4-FFF2-40B4-BE49-F238E27FC236}">
                    <a16:creationId xmlns:a16="http://schemas.microsoft.com/office/drawing/2014/main" id="{8A0508AF-CEB1-488F-A5CD-5DA6217B4B16}"/>
                  </a:ext>
                </a:extLst>
              </p:cNvPr>
              <p:cNvSpPr/>
              <p:nvPr/>
            </p:nvSpPr>
            <p:spPr>
              <a:xfrm>
                <a:off x="7473272" y="3140228"/>
                <a:ext cx="167640" cy="14519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8" name="任意多边形 34">
                <a:extLst>
                  <a:ext uri="{FF2B5EF4-FFF2-40B4-BE49-F238E27FC236}">
                    <a16:creationId xmlns:a16="http://schemas.microsoft.com/office/drawing/2014/main" id="{CC18268C-ECD3-9C8E-6AC5-56EA2735461F}"/>
                  </a:ext>
                </a:extLst>
              </p:cNvPr>
              <p:cNvSpPr/>
              <p:nvPr/>
            </p:nvSpPr>
            <p:spPr>
              <a:xfrm>
                <a:off x="7628212" y="3140227"/>
                <a:ext cx="916940" cy="102052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09" name="矩形 37">
                <a:extLst>
                  <a:ext uri="{FF2B5EF4-FFF2-40B4-BE49-F238E27FC236}">
                    <a16:creationId xmlns:a16="http://schemas.microsoft.com/office/drawing/2014/main" id="{16E22EA9-5104-A9EE-0FC7-4B71ADB96927}"/>
                  </a:ext>
                </a:extLst>
              </p:cNvPr>
              <p:cNvSpPr/>
              <p:nvPr/>
            </p:nvSpPr>
            <p:spPr>
              <a:xfrm>
                <a:off x="8607864" y="3390348"/>
                <a:ext cx="781515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0" name="矩形 38">
                <a:extLst>
                  <a:ext uri="{FF2B5EF4-FFF2-40B4-BE49-F238E27FC236}">
                    <a16:creationId xmlns:a16="http://schemas.microsoft.com/office/drawing/2014/main" id="{B2E410B2-E4ED-9949-E3C6-0586B23F3E39}"/>
                  </a:ext>
                </a:extLst>
              </p:cNvPr>
              <p:cNvSpPr/>
              <p:nvPr/>
            </p:nvSpPr>
            <p:spPr>
              <a:xfrm>
                <a:off x="7717914" y="3390348"/>
                <a:ext cx="809931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1" name="矩形 39">
                <a:extLst>
                  <a:ext uri="{FF2B5EF4-FFF2-40B4-BE49-F238E27FC236}">
                    <a16:creationId xmlns:a16="http://schemas.microsoft.com/office/drawing/2014/main" id="{48AFE5E0-1B1B-9B73-781B-982927BD5593}"/>
                  </a:ext>
                </a:extLst>
              </p:cNvPr>
              <p:cNvSpPr/>
              <p:nvPr/>
            </p:nvSpPr>
            <p:spPr>
              <a:xfrm>
                <a:off x="7923160" y="330128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2" name="矩形 40">
                <a:extLst>
                  <a:ext uri="{FF2B5EF4-FFF2-40B4-BE49-F238E27FC236}">
                    <a16:creationId xmlns:a16="http://schemas.microsoft.com/office/drawing/2014/main" id="{D6305429-D06B-011A-08EA-4A3A911BA0E9}"/>
                  </a:ext>
                </a:extLst>
              </p:cNvPr>
              <p:cNvSpPr/>
              <p:nvPr/>
            </p:nvSpPr>
            <p:spPr>
              <a:xfrm>
                <a:off x="9059667" y="3291755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3" name="矩形 41">
                <a:extLst>
                  <a:ext uri="{FF2B5EF4-FFF2-40B4-BE49-F238E27FC236}">
                    <a16:creationId xmlns:a16="http://schemas.microsoft.com/office/drawing/2014/main" id="{0238B1A5-8F6D-9F1E-F584-87F3E30C35DC}"/>
                  </a:ext>
                </a:extLst>
              </p:cNvPr>
              <p:cNvSpPr/>
              <p:nvPr/>
            </p:nvSpPr>
            <p:spPr>
              <a:xfrm>
                <a:off x="6573493" y="3395167"/>
                <a:ext cx="815952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4" name="矩形 42">
                <a:extLst>
                  <a:ext uri="{FF2B5EF4-FFF2-40B4-BE49-F238E27FC236}">
                    <a16:creationId xmlns:a16="http://schemas.microsoft.com/office/drawing/2014/main" id="{4C82C8DD-4CD9-C55D-C9EB-EDD0159BF991}"/>
                  </a:ext>
                </a:extLst>
              </p:cNvPr>
              <p:cNvSpPr/>
              <p:nvPr/>
            </p:nvSpPr>
            <p:spPr>
              <a:xfrm>
                <a:off x="6863132" y="3303634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5" name="矩形 43">
                <a:extLst>
                  <a:ext uri="{FF2B5EF4-FFF2-40B4-BE49-F238E27FC236}">
                    <a16:creationId xmlns:a16="http://schemas.microsoft.com/office/drawing/2014/main" id="{0A7EF1D5-F215-3B15-FB99-F08D35600D4E}"/>
                  </a:ext>
                </a:extLst>
              </p:cNvPr>
              <p:cNvSpPr/>
              <p:nvPr/>
            </p:nvSpPr>
            <p:spPr>
              <a:xfrm>
                <a:off x="3833088" y="3595928"/>
                <a:ext cx="781515" cy="18282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6" name="矩形 44">
                <a:extLst>
                  <a:ext uri="{FF2B5EF4-FFF2-40B4-BE49-F238E27FC236}">
                    <a16:creationId xmlns:a16="http://schemas.microsoft.com/office/drawing/2014/main" id="{25B2ADE0-6514-9E3A-28B8-A24A72395333}"/>
                  </a:ext>
                </a:extLst>
              </p:cNvPr>
              <p:cNvSpPr/>
              <p:nvPr/>
            </p:nvSpPr>
            <p:spPr>
              <a:xfrm>
                <a:off x="4116369" y="3501209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7" name="矩形 46">
                <a:extLst>
                  <a:ext uri="{FF2B5EF4-FFF2-40B4-BE49-F238E27FC236}">
                    <a16:creationId xmlns:a16="http://schemas.microsoft.com/office/drawing/2014/main" id="{47A435E0-C13A-0703-0889-5DDE055C2BE6}"/>
                  </a:ext>
                </a:extLst>
              </p:cNvPr>
              <p:cNvSpPr/>
              <p:nvPr/>
            </p:nvSpPr>
            <p:spPr>
              <a:xfrm>
                <a:off x="4985992" y="3390348"/>
                <a:ext cx="781515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8" name="矩形 47">
                <a:extLst>
                  <a:ext uri="{FF2B5EF4-FFF2-40B4-BE49-F238E27FC236}">
                    <a16:creationId xmlns:a16="http://schemas.microsoft.com/office/drawing/2014/main" id="{6EBBBFE6-C260-5C1E-2F80-3F1C33970ADB}"/>
                  </a:ext>
                </a:extLst>
              </p:cNvPr>
              <p:cNvSpPr/>
              <p:nvPr/>
            </p:nvSpPr>
            <p:spPr>
              <a:xfrm>
                <a:off x="5162822" y="330128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19" name="矩形 48">
                <a:extLst>
                  <a:ext uri="{FF2B5EF4-FFF2-40B4-BE49-F238E27FC236}">
                    <a16:creationId xmlns:a16="http://schemas.microsoft.com/office/drawing/2014/main" id="{9A1A6015-AA6A-2616-8977-9D2A6776D02C}"/>
                  </a:ext>
                </a:extLst>
              </p:cNvPr>
              <p:cNvSpPr/>
              <p:nvPr/>
            </p:nvSpPr>
            <p:spPr>
              <a:xfrm>
                <a:off x="5847525" y="3310204"/>
                <a:ext cx="656255" cy="476587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0" name="矩形 49">
                <a:extLst>
                  <a:ext uri="{FF2B5EF4-FFF2-40B4-BE49-F238E27FC236}">
                    <a16:creationId xmlns:a16="http://schemas.microsoft.com/office/drawing/2014/main" id="{0F24E7A7-FE79-9E6D-A9AE-4542C84865C0}"/>
                  </a:ext>
                </a:extLst>
              </p:cNvPr>
              <p:cNvSpPr/>
              <p:nvPr/>
            </p:nvSpPr>
            <p:spPr>
              <a:xfrm>
                <a:off x="6093225" y="321922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1" name="矩形 50">
                <a:extLst>
                  <a:ext uri="{FF2B5EF4-FFF2-40B4-BE49-F238E27FC236}">
                    <a16:creationId xmlns:a16="http://schemas.microsoft.com/office/drawing/2014/main" id="{C652EAF7-D940-95D4-6815-773EFE44AF72}"/>
                  </a:ext>
                </a:extLst>
              </p:cNvPr>
              <p:cNvSpPr/>
              <p:nvPr/>
            </p:nvSpPr>
            <p:spPr>
              <a:xfrm>
                <a:off x="2723014" y="3396076"/>
                <a:ext cx="1009579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2" name="矩形 51">
                <a:extLst>
                  <a:ext uri="{FF2B5EF4-FFF2-40B4-BE49-F238E27FC236}">
                    <a16:creationId xmlns:a16="http://schemas.microsoft.com/office/drawing/2014/main" id="{21C22C8F-EEBF-E8D0-9550-E60445A3ED73}"/>
                  </a:ext>
                </a:extLst>
              </p:cNvPr>
              <p:cNvSpPr/>
              <p:nvPr/>
            </p:nvSpPr>
            <p:spPr>
              <a:xfrm>
                <a:off x="3127908" y="3307008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3" name="矩形 52">
                <a:extLst>
                  <a:ext uri="{FF2B5EF4-FFF2-40B4-BE49-F238E27FC236}">
                    <a16:creationId xmlns:a16="http://schemas.microsoft.com/office/drawing/2014/main" id="{04444B0A-D478-7764-D151-B91EADFB11FA}"/>
                  </a:ext>
                </a:extLst>
              </p:cNvPr>
              <p:cNvSpPr/>
              <p:nvPr/>
            </p:nvSpPr>
            <p:spPr>
              <a:xfrm>
                <a:off x="1544913" y="3486970"/>
                <a:ext cx="1097749" cy="291779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4" name="矩形 53">
                <a:extLst>
                  <a:ext uri="{FF2B5EF4-FFF2-40B4-BE49-F238E27FC236}">
                    <a16:creationId xmlns:a16="http://schemas.microsoft.com/office/drawing/2014/main" id="{987D6458-1323-0048-D710-94E1D776E7E8}"/>
                  </a:ext>
                </a:extLst>
              </p:cNvPr>
              <p:cNvSpPr/>
              <p:nvPr/>
            </p:nvSpPr>
            <p:spPr>
              <a:xfrm>
                <a:off x="1818775" y="3219220"/>
                <a:ext cx="823396" cy="257791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5" name="矩形 54">
                <a:extLst>
                  <a:ext uri="{FF2B5EF4-FFF2-40B4-BE49-F238E27FC236}">
                    <a16:creationId xmlns:a16="http://schemas.microsoft.com/office/drawing/2014/main" id="{0745D5DC-6F54-A895-39C6-1EDB55E80CE1}"/>
                  </a:ext>
                </a:extLst>
              </p:cNvPr>
              <p:cNvSpPr/>
              <p:nvPr/>
            </p:nvSpPr>
            <p:spPr>
              <a:xfrm>
                <a:off x="1964468" y="2950493"/>
                <a:ext cx="677704" cy="258769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26" name="椭圆 55">
                <a:extLst>
                  <a:ext uri="{FF2B5EF4-FFF2-40B4-BE49-F238E27FC236}">
                    <a16:creationId xmlns:a16="http://schemas.microsoft.com/office/drawing/2014/main" id="{B515D368-EF52-A938-7FC5-39BDAB7AF70E}"/>
                  </a:ext>
                </a:extLst>
              </p:cNvPr>
              <p:cNvSpPr/>
              <p:nvPr/>
            </p:nvSpPr>
            <p:spPr>
              <a:xfrm>
                <a:off x="1187193" y="3483148"/>
                <a:ext cx="261719" cy="258509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227" name="直接连接符 56">
                <a:extLst>
                  <a:ext uri="{FF2B5EF4-FFF2-40B4-BE49-F238E27FC236}">
                    <a16:creationId xmlns:a16="http://schemas.microsoft.com/office/drawing/2014/main" id="{4B4B2AB4-2F9E-EBEE-F990-3E4FBDA5D967}"/>
                  </a:ext>
                </a:extLst>
              </p:cNvPr>
              <p:cNvCxnSpPr/>
              <p:nvPr/>
            </p:nvCxnSpPr>
            <p:spPr>
              <a:xfrm flipH="1">
                <a:off x="1160923" y="3702475"/>
                <a:ext cx="74515" cy="84316"/>
              </a:xfrm>
              <a:prstGeom prst="line">
                <a:avLst/>
              </a:prstGeom>
              <a:grpFill/>
              <a:ln w="28575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28" name="直接连接符 57">
                <a:extLst>
                  <a:ext uri="{FF2B5EF4-FFF2-40B4-BE49-F238E27FC236}">
                    <a16:creationId xmlns:a16="http://schemas.microsoft.com/office/drawing/2014/main" id="{28C57D30-D2ED-F798-B229-B6D0EE2AD1DA}"/>
                  </a:ext>
                </a:extLst>
              </p:cNvPr>
              <p:cNvCxnSpPr/>
              <p:nvPr/>
            </p:nvCxnSpPr>
            <p:spPr>
              <a:xfrm>
                <a:off x="1436039" y="3702475"/>
                <a:ext cx="63530" cy="84316"/>
              </a:xfrm>
              <a:prstGeom prst="line">
                <a:avLst/>
              </a:prstGeom>
              <a:grpFill/>
              <a:ln w="28575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29" name="直接连接符 58">
                <a:extLst>
                  <a:ext uri="{FF2B5EF4-FFF2-40B4-BE49-F238E27FC236}">
                    <a16:creationId xmlns:a16="http://schemas.microsoft.com/office/drawing/2014/main" id="{1703962F-E36D-CAE1-58F5-EB14C9384D07}"/>
                  </a:ext>
                </a:extLst>
              </p:cNvPr>
              <p:cNvCxnSpPr/>
              <p:nvPr/>
            </p:nvCxnSpPr>
            <p:spPr>
              <a:xfrm flipH="1">
                <a:off x="1108778" y="3778746"/>
                <a:ext cx="436135" cy="0"/>
              </a:xfrm>
              <a:prstGeom prst="line">
                <a:avLst/>
              </a:prstGeom>
              <a:grpFill/>
              <a:ln w="28575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0" name="直接连接符 60">
                <a:extLst>
                  <a:ext uri="{FF2B5EF4-FFF2-40B4-BE49-F238E27FC236}">
                    <a16:creationId xmlns:a16="http://schemas.microsoft.com/office/drawing/2014/main" id="{8740E3D8-82EF-D977-8847-F55B09EF89D3}"/>
                  </a:ext>
                </a:extLst>
              </p:cNvPr>
              <p:cNvCxnSpPr/>
              <p:nvPr/>
            </p:nvCxnSpPr>
            <p:spPr>
              <a:xfrm>
                <a:off x="1080729" y="3750927"/>
                <a:ext cx="412455" cy="359733"/>
              </a:xfrm>
              <a:prstGeom prst="line">
                <a:avLst/>
              </a:prstGeom>
              <a:grpFill/>
              <a:ln w="28575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1" name="直接连接符 62">
                <a:extLst>
                  <a:ext uri="{FF2B5EF4-FFF2-40B4-BE49-F238E27FC236}">
                    <a16:creationId xmlns:a16="http://schemas.microsoft.com/office/drawing/2014/main" id="{B01A5846-7FC0-A2AC-108E-12D10644D102}"/>
                  </a:ext>
                </a:extLst>
              </p:cNvPr>
              <p:cNvCxnSpPr/>
              <p:nvPr/>
            </p:nvCxnSpPr>
            <p:spPr>
              <a:xfrm flipH="1">
                <a:off x="1338683" y="3783569"/>
                <a:ext cx="160884" cy="179068"/>
              </a:xfrm>
              <a:prstGeom prst="line">
                <a:avLst/>
              </a:prstGeom>
              <a:grpFill/>
              <a:ln w="28575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232" name="矩形 65">
                <a:extLst>
                  <a:ext uri="{FF2B5EF4-FFF2-40B4-BE49-F238E27FC236}">
                    <a16:creationId xmlns:a16="http://schemas.microsoft.com/office/drawing/2014/main" id="{A2716E89-65A1-9452-C564-F5F73950BD3C}"/>
                  </a:ext>
                </a:extLst>
              </p:cNvPr>
              <p:cNvSpPr/>
              <p:nvPr/>
            </p:nvSpPr>
            <p:spPr>
              <a:xfrm>
                <a:off x="2312459" y="2796598"/>
                <a:ext cx="329712" cy="155882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233" name="直接连接符 66">
                <a:extLst>
                  <a:ext uri="{FF2B5EF4-FFF2-40B4-BE49-F238E27FC236}">
                    <a16:creationId xmlns:a16="http://schemas.microsoft.com/office/drawing/2014/main" id="{124A00E9-C7AD-9C4F-C2F1-2A0DE3026B5E}"/>
                  </a:ext>
                </a:extLst>
              </p:cNvPr>
              <p:cNvCxnSpPr/>
              <p:nvPr/>
            </p:nvCxnSpPr>
            <p:spPr>
              <a:xfrm flipH="1">
                <a:off x="1467804" y="2796598"/>
                <a:ext cx="706534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4" name="直接连接符 74">
                <a:extLst>
                  <a:ext uri="{FF2B5EF4-FFF2-40B4-BE49-F238E27FC236}">
                    <a16:creationId xmlns:a16="http://schemas.microsoft.com/office/drawing/2014/main" id="{209B81A4-ECA2-4C41-A75B-9E69612206F9}"/>
                  </a:ext>
                </a:extLst>
              </p:cNvPr>
              <p:cNvCxnSpPr/>
              <p:nvPr/>
            </p:nvCxnSpPr>
            <p:spPr>
              <a:xfrm flipH="1">
                <a:off x="1544914" y="2954602"/>
                <a:ext cx="419553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5" name="直接连接符 79">
                <a:extLst>
                  <a:ext uri="{FF2B5EF4-FFF2-40B4-BE49-F238E27FC236}">
                    <a16:creationId xmlns:a16="http://schemas.microsoft.com/office/drawing/2014/main" id="{C9159000-D3EF-B5FF-959E-FE574208C53F}"/>
                  </a:ext>
                </a:extLst>
              </p:cNvPr>
              <p:cNvCxnSpPr/>
              <p:nvPr/>
            </p:nvCxnSpPr>
            <p:spPr>
              <a:xfrm>
                <a:off x="1511183" y="2790513"/>
                <a:ext cx="169358" cy="302047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6" name="直接连接符 80">
                <a:extLst>
                  <a:ext uri="{FF2B5EF4-FFF2-40B4-BE49-F238E27FC236}">
                    <a16:creationId xmlns:a16="http://schemas.microsoft.com/office/drawing/2014/main" id="{99550177-9B73-B552-FF48-F8720FDBCE3D}"/>
                  </a:ext>
                </a:extLst>
              </p:cNvPr>
              <p:cNvCxnSpPr/>
              <p:nvPr/>
            </p:nvCxnSpPr>
            <p:spPr>
              <a:xfrm>
                <a:off x="1706888" y="3097735"/>
                <a:ext cx="0" cy="403474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7" name="直接连接符 83">
                <a:extLst>
                  <a:ext uri="{FF2B5EF4-FFF2-40B4-BE49-F238E27FC236}">
                    <a16:creationId xmlns:a16="http://schemas.microsoft.com/office/drawing/2014/main" id="{8EF00ECE-7B5F-6D96-9FB9-7D7F28553635}"/>
                  </a:ext>
                </a:extLst>
              </p:cNvPr>
              <p:cNvCxnSpPr/>
              <p:nvPr/>
            </p:nvCxnSpPr>
            <p:spPr>
              <a:xfrm flipH="1">
                <a:off x="1624647" y="3097735"/>
                <a:ext cx="510407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8" name="直接连接符 87">
                <a:extLst>
                  <a:ext uri="{FF2B5EF4-FFF2-40B4-BE49-F238E27FC236}">
                    <a16:creationId xmlns:a16="http://schemas.microsoft.com/office/drawing/2014/main" id="{6DB65281-46F5-5078-2185-3E35CB1B786E}"/>
                  </a:ext>
                </a:extLst>
              </p:cNvPr>
              <p:cNvCxnSpPr/>
              <p:nvPr/>
            </p:nvCxnSpPr>
            <p:spPr>
              <a:xfrm flipH="1">
                <a:off x="1706850" y="2800829"/>
                <a:ext cx="130646" cy="303787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9" name="直接连接符 91">
                <a:extLst>
                  <a:ext uri="{FF2B5EF4-FFF2-40B4-BE49-F238E27FC236}">
                    <a16:creationId xmlns:a16="http://schemas.microsoft.com/office/drawing/2014/main" id="{373B9AF5-2CD0-38D6-9338-256C801DC7DC}"/>
                  </a:ext>
                </a:extLst>
              </p:cNvPr>
              <p:cNvCxnSpPr/>
              <p:nvPr/>
            </p:nvCxnSpPr>
            <p:spPr>
              <a:xfrm flipH="1">
                <a:off x="1619957" y="2806557"/>
                <a:ext cx="54276" cy="13533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0" name="直接连接符 93">
                <a:extLst>
                  <a:ext uri="{FF2B5EF4-FFF2-40B4-BE49-F238E27FC236}">
                    <a16:creationId xmlns:a16="http://schemas.microsoft.com/office/drawing/2014/main" id="{92AB7284-C64F-51C0-03A6-B7CB9D6E2D6A}"/>
                  </a:ext>
                </a:extLst>
              </p:cNvPr>
              <p:cNvCxnSpPr/>
              <p:nvPr/>
            </p:nvCxnSpPr>
            <p:spPr>
              <a:xfrm>
                <a:off x="1835053" y="2788952"/>
                <a:ext cx="129414" cy="298824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1" name="直接连接符 99">
                <a:extLst>
                  <a:ext uri="{FF2B5EF4-FFF2-40B4-BE49-F238E27FC236}">
                    <a16:creationId xmlns:a16="http://schemas.microsoft.com/office/drawing/2014/main" id="{91A43CA2-A246-7EB9-0ACB-050E4188E920}"/>
                  </a:ext>
                </a:extLst>
              </p:cNvPr>
              <p:cNvCxnSpPr/>
              <p:nvPr/>
            </p:nvCxnSpPr>
            <p:spPr>
              <a:xfrm flipH="1">
                <a:off x="1967456" y="2794113"/>
                <a:ext cx="163108" cy="303787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2" name="直接连接符 104">
                <a:extLst>
                  <a:ext uri="{FF2B5EF4-FFF2-40B4-BE49-F238E27FC236}">
                    <a16:creationId xmlns:a16="http://schemas.microsoft.com/office/drawing/2014/main" id="{E0DFF157-505B-72CE-D114-7DF456D5A80E}"/>
                  </a:ext>
                </a:extLst>
              </p:cNvPr>
              <p:cNvCxnSpPr/>
              <p:nvPr/>
            </p:nvCxnSpPr>
            <p:spPr>
              <a:xfrm>
                <a:off x="1971481" y="3097735"/>
                <a:ext cx="0" cy="121485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3" name="直接连接符 112">
                <a:extLst>
                  <a:ext uri="{FF2B5EF4-FFF2-40B4-BE49-F238E27FC236}">
                    <a16:creationId xmlns:a16="http://schemas.microsoft.com/office/drawing/2014/main" id="{8FAC1EC0-FBE7-A3DC-D843-25FE24094ED7}"/>
                  </a:ext>
                </a:extLst>
              </p:cNvPr>
              <p:cNvCxnSpPr/>
              <p:nvPr/>
            </p:nvCxnSpPr>
            <p:spPr>
              <a:xfrm>
                <a:off x="1686120" y="2800320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4" name="直接连接符 115">
                <a:extLst>
                  <a:ext uri="{FF2B5EF4-FFF2-40B4-BE49-F238E27FC236}">
                    <a16:creationId xmlns:a16="http://schemas.microsoft.com/office/drawing/2014/main" id="{D2E6CF5F-07A6-E9CB-D990-7221F1E3B7EC}"/>
                  </a:ext>
                </a:extLst>
              </p:cNvPr>
              <p:cNvCxnSpPr/>
              <p:nvPr/>
            </p:nvCxnSpPr>
            <p:spPr>
              <a:xfrm flipH="1">
                <a:off x="1910033" y="2804228"/>
                <a:ext cx="65342" cy="147078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5" name="直接连接符 116">
                <a:extLst>
                  <a:ext uri="{FF2B5EF4-FFF2-40B4-BE49-F238E27FC236}">
                    <a16:creationId xmlns:a16="http://schemas.microsoft.com/office/drawing/2014/main" id="{5F5D1926-3F95-146D-8023-A283F72A5001}"/>
                  </a:ext>
                </a:extLst>
              </p:cNvPr>
              <p:cNvCxnSpPr/>
              <p:nvPr/>
            </p:nvCxnSpPr>
            <p:spPr>
              <a:xfrm>
                <a:off x="1968367" y="2796074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pic>
            <p:nvPicPr>
              <p:cNvPr id="246" name="图片 124">
                <a:extLst>
                  <a:ext uri="{FF2B5EF4-FFF2-40B4-BE49-F238E27FC236}">
                    <a16:creationId xmlns:a16="http://schemas.microsoft.com/office/drawing/2014/main" id="{DA24EF61-1F9A-46ED-F97F-E66B52D04E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12512" y="3816352"/>
                <a:ext cx="1762448" cy="1040978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ADB16F56-7611-453A-B51C-3609790F406E}"/>
                  </a:ext>
                </a:extLst>
              </p:cNvPr>
              <p:cNvSpPr/>
              <p:nvPr/>
            </p:nvSpPr>
            <p:spPr>
              <a:xfrm>
                <a:off x="2729871" y="3741656"/>
                <a:ext cx="6539937" cy="45719"/>
              </a:xfrm>
              <a:prstGeom prst="rect">
                <a:avLst/>
              </a:prstGeom>
              <a:grpFill/>
              <a:ln w="12700" cap="flat" cmpd="sng" algn="ctr">
                <a:solidFill>
                  <a:srgbClr val="49B1FF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042B25BB-9DB4-68F0-59F6-A63B7692AE41}"/>
                </a:ext>
              </a:extLst>
            </p:cNvPr>
            <p:cNvSpPr txBox="1"/>
            <p:nvPr/>
          </p:nvSpPr>
          <p:spPr>
            <a:xfrm>
              <a:off x="3743288" y="4600357"/>
              <a:ext cx="1562252" cy="4103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2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nd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rPr>
                <a:t>Generation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BEE18DA-3B79-AAE3-EAF3-C6A81EFF077F}"/>
              </a:ext>
            </a:extLst>
          </p:cNvPr>
          <p:cNvGrpSpPr/>
          <p:nvPr/>
        </p:nvGrpSpPr>
        <p:grpSpPr>
          <a:xfrm>
            <a:off x="7257330" y="2208291"/>
            <a:ext cx="1516167" cy="541668"/>
            <a:chOff x="7956615" y="-47198"/>
            <a:chExt cx="2741447" cy="1034961"/>
          </a:xfrm>
          <a:solidFill>
            <a:srgbClr val="3CDBC0">
              <a:lumMod val="75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8EE26441-8951-A223-1681-F61B5E73E96F}"/>
                </a:ext>
              </a:extLst>
            </p:cNvPr>
            <p:cNvGrpSpPr/>
            <p:nvPr/>
          </p:nvGrpSpPr>
          <p:grpSpPr>
            <a:xfrm>
              <a:off x="7956615" y="-47198"/>
              <a:ext cx="2618725" cy="996667"/>
              <a:chOff x="1108778" y="2080875"/>
              <a:chExt cx="9106150" cy="2836411"/>
            </a:xfrm>
            <a:grpFill/>
          </p:grpSpPr>
          <p:sp>
            <p:nvSpPr>
              <p:cNvPr id="251" name="剪去同侧角的矩形 2">
                <a:extLst>
                  <a:ext uri="{FF2B5EF4-FFF2-40B4-BE49-F238E27FC236}">
                    <a16:creationId xmlns:a16="http://schemas.microsoft.com/office/drawing/2014/main" id="{461CDD56-FA88-6318-0732-05F7785BB240}"/>
                  </a:ext>
                </a:extLst>
              </p:cNvPr>
              <p:cNvSpPr/>
              <p:nvPr/>
            </p:nvSpPr>
            <p:spPr>
              <a:xfrm rot="10800000">
                <a:off x="1549490" y="3788707"/>
                <a:ext cx="8665438" cy="1068223"/>
              </a:xfrm>
              <a:prstGeom prst="snip2SameRect">
                <a:avLst/>
              </a:prstGeom>
              <a:solidFill>
                <a:srgbClr val="3CDBC0">
                  <a:lumMod val="50000"/>
                </a:srgbClr>
              </a:solidFill>
              <a:ln w="12700" cap="flat" cmpd="sng" algn="ctr">
                <a:solidFill>
                  <a:srgbClr val="3CDBC0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2" name="流程图: 手动操作 5">
                <a:extLst>
                  <a:ext uri="{FF2B5EF4-FFF2-40B4-BE49-F238E27FC236}">
                    <a16:creationId xmlns:a16="http://schemas.microsoft.com/office/drawing/2014/main" id="{530D9E8E-7BE9-5389-0AE0-402A6737183E}"/>
                  </a:ext>
                </a:extLst>
              </p:cNvPr>
              <p:cNvSpPr/>
              <p:nvPr/>
            </p:nvSpPr>
            <p:spPr>
              <a:xfrm rot="10800000">
                <a:off x="9434489" y="2080875"/>
                <a:ext cx="298072" cy="1702853"/>
              </a:xfrm>
              <a:prstGeom prst="flowChartManualOperation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3" name="椭圆 8">
                <a:extLst>
                  <a:ext uri="{FF2B5EF4-FFF2-40B4-BE49-F238E27FC236}">
                    <a16:creationId xmlns:a16="http://schemas.microsoft.com/office/drawing/2014/main" id="{4AF70BA2-3551-E1A4-69EB-A58317385029}"/>
                  </a:ext>
                </a:extLst>
              </p:cNvPr>
              <p:cNvSpPr/>
              <p:nvPr/>
            </p:nvSpPr>
            <p:spPr>
              <a:xfrm>
                <a:off x="9842885" y="3499670"/>
                <a:ext cx="261718" cy="258509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4" name="矩形 17">
                <a:extLst>
                  <a:ext uri="{FF2B5EF4-FFF2-40B4-BE49-F238E27FC236}">
                    <a16:creationId xmlns:a16="http://schemas.microsoft.com/office/drawing/2014/main" id="{CAC73F46-7962-1D73-DA03-2B65932B8BB4}"/>
                  </a:ext>
                </a:extLst>
              </p:cNvPr>
              <p:cNvSpPr/>
              <p:nvPr/>
            </p:nvSpPr>
            <p:spPr>
              <a:xfrm>
                <a:off x="4722760" y="3403150"/>
                <a:ext cx="144780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5" name="矩形 18">
                <a:extLst>
                  <a:ext uri="{FF2B5EF4-FFF2-40B4-BE49-F238E27FC236}">
                    <a16:creationId xmlns:a16="http://schemas.microsoft.com/office/drawing/2014/main" id="{EB8A1747-0219-EE8D-B376-5E2D8D24DB28}"/>
                  </a:ext>
                </a:extLst>
              </p:cNvPr>
              <p:cNvSpPr/>
              <p:nvPr/>
            </p:nvSpPr>
            <p:spPr>
              <a:xfrm>
                <a:off x="4684660" y="3285858"/>
                <a:ext cx="220980" cy="132530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6" name="矩形 23">
                <a:extLst>
                  <a:ext uri="{FF2B5EF4-FFF2-40B4-BE49-F238E27FC236}">
                    <a16:creationId xmlns:a16="http://schemas.microsoft.com/office/drawing/2014/main" id="{066357DA-D102-44E0-78A5-7694E4A7E0DE}"/>
                  </a:ext>
                </a:extLst>
              </p:cNvPr>
              <p:cNvSpPr/>
              <p:nvPr/>
            </p:nvSpPr>
            <p:spPr>
              <a:xfrm>
                <a:off x="4712600" y="3140660"/>
                <a:ext cx="167640" cy="14519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7" name="任意多边形 26">
                <a:extLst>
                  <a:ext uri="{FF2B5EF4-FFF2-40B4-BE49-F238E27FC236}">
                    <a16:creationId xmlns:a16="http://schemas.microsoft.com/office/drawing/2014/main" id="{464DA3EA-AB77-FD29-9257-E9E792FDAD14}"/>
                  </a:ext>
                </a:extLst>
              </p:cNvPr>
              <p:cNvSpPr/>
              <p:nvPr/>
            </p:nvSpPr>
            <p:spPr>
              <a:xfrm>
                <a:off x="4867540" y="3140659"/>
                <a:ext cx="916940" cy="102052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8" name="矩形 29">
                <a:extLst>
                  <a:ext uri="{FF2B5EF4-FFF2-40B4-BE49-F238E27FC236}">
                    <a16:creationId xmlns:a16="http://schemas.microsoft.com/office/drawing/2014/main" id="{5CF9AD3A-F8FD-9D22-F100-39484CD56EB1}"/>
                  </a:ext>
                </a:extLst>
              </p:cNvPr>
              <p:cNvSpPr/>
              <p:nvPr/>
            </p:nvSpPr>
            <p:spPr>
              <a:xfrm>
                <a:off x="7484084" y="3403150"/>
                <a:ext cx="144780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59" name="矩形 32">
                <a:extLst>
                  <a:ext uri="{FF2B5EF4-FFF2-40B4-BE49-F238E27FC236}">
                    <a16:creationId xmlns:a16="http://schemas.microsoft.com/office/drawing/2014/main" id="{F57442FB-F63C-97D2-73F8-A301E9E3334F}"/>
                  </a:ext>
                </a:extLst>
              </p:cNvPr>
              <p:cNvSpPr/>
              <p:nvPr/>
            </p:nvSpPr>
            <p:spPr>
              <a:xfrm>
                <a:off x="7445332" y="3285426"/>
                <a:ext cx="220980" cy="132530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0" name="矩形 33">
                <a:extLst>
                  <a:ext uri="{FF2B5EF4-FFF2-40B4-BE49-F238E27FC236}">
                    <a16:creationId xmlns:a16="http://schemas.microsoft.com/office/drawing/2014/main" id="{58333E6F-7DB5-B46E-7AEF-6B4E500490F7}"/>
                  </a:ext>
                </a:extLst>
              </p:cNvPr>
              <p:cNvSpPr/>
              <p:nvPr/>
            </p:nvSpPr>
            <p:spPr>
              <a:xfrm>
                <a:off x="7473272" y="3140228"/>
                <a:ext cx="167640" cy="14519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1" name="任意多边形 34">
                <a:extLst>
                  <a:ext uri="{FF2B5EF4-FFF2-40B4-BE49-F238E27FC236}">
                    <a16:creationId xmlns:a16="http://schemas.microsoft.com/office/drawing/2014/main" id="{DDB8E3FA-811A-50A7-F21E-B9C07C8B7776}"/>
                  </a:ext>
                </a:extLst>
              </p:cNvPr>
              <p:cNvSpPr/>
              <p:nvPr/>
            </p:nvSpPr>
            <p:spPr>
              <a:xfrm>
                <a:off x="7628212" y="3140227"/>
                <a:ext cx="916940" cy="102052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pic>
            <p:nvPicPr>
              <p:cNvPr id="262" name="图片 36">
                <a:extLst>
                  <a:ext uri="{FF2B5EF4-FFF2-40B4-BE49-F238E27FC236}">
                    <a16:creationId xmlns:a16="http://schemas.microsoft.com/office/drawing/2014/main" id="{B71C7285-FCEC-D60B-BD38-D01B030EF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12829" y="3820845"/>
                <a:ext cx="1554295" cy="1096441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63" name="矩形 37">
                <a:extLst>
                  <a:ext uri="{FF2B5EF4-FFF2-40B4-BE49-F238E27FC236}">
                    <a16:creationId xmlns:a16="http://schemas.microsoft.com/office/drawing/2014/main" id="{F2B7C1A6-6747-AD44-4433-F2B10AE9A856}"/>
                  </a:ext>
                </a:extLst>
              </p:cNvPr>
              <p:cNvSpPr/>
              <p:nvPr/>
            </p:nvSpPr>
            <p:spPr>
              <a:xfrm>
                <a:off x="8607864" y="3390348"/>
                <a:ext cx="781515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4" name="矩形 38">
                <a:extLst>
                  <a:ext uri="{FF2B5EF4-FFF2-40B4-BE49-F238E27FC236}">
                    <a16:creationId xmlns:a16="http://schemas.microsoft.com/office/drawing/2014/main" id="{DB905E7D-89A4-BF9A-34DD-FE017D559BD3}"/>
                  </a:ext>
                </a:extLst>
              </p:cNvPr>
              <p:cNvSpPr/>
              <p:nvPr/>
            </p:nvSpPr>
            <p:spPr>
              <a:xfrm>
                <a:off x="7717914" y="3390348"/>
                <a:ext cx="809931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5" name="矩形 39">
                <a:extLst>
                  <a:ext uri="{FF2B5EF4-FFF2-40B4-BE49-F238E27FC236}">
                    <a16:creationId xmlns:a16="http://schemas.microsoft.com/office/drawing/2014/main" id="{F95F6C3B-0392-C014-D49D-33D84A62B70D}"/>
                  </a:ext>
                </a:extLst>
              </p:cNvPr>
              <p:cNvSpPr/>
              <p:nvPr/>
            </p:nvSpPr>
            <p:spPr>
              <a:xfrm>
                <a:off x="7923160" y="330128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6" name="矩形 40">
                <a:extLst>
                  <a:ext uri="{FF2B5EF4-FFF2-40B4-BE49-F238E27FC236}">
                    <a16:creationId xmlns:a16="http://schemas.microsoft.com/office/drawing/2014/main" id="{1252091C-93E2-EA60-DF42-20CAE2E9A6CD}"/>
                  </a:ext>
                </a:extLst>
              </p:cNvPr>
              <p:cNvSpPr/>
              <p:nvPr/>
            </p:nvSpPr>
            <p:spPr>
              <a:xfrm>
                <a:off x="9059667" y="3291755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7" name="矩形 41">
                <a:extLst>
                  <a:ext uri="{FF2B5EF4-FFF2-40B4-BE49-F238E27FC236}">
                    <a16:creationId xmlns:a16="http://schemas.microsoft.com/office/drawing/2014/main" id="{69154A84-8A65-FD5A-3C83-9C0B9F354048}"/>
                  </a:ext>
                </a:extLst>
              </p:cNvPr>
              <p:cNvSpPr/>
              <p:nvPr/>
            </p:nvSpPr>
            <p:spPr>
              <a:xfrm>
                <a:off x="6573493" y="3395167"/>
                <a:ext cx="815952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8" name="矩形 42">
                <a:extLst>
                  <a:ext uri="{FF2B5EF4-FFF2-40B4-BE49-F238E27FC236}">
                    <a16:creationId xmlns:a16="http://schemas.microsoft.com/office/drawing/2014/main" id="{7B2C5876-70BB-E224-D027-C808540A4DCE}"/>
                  </a:ext>
                </a:extLst>
              </p:cNvPr>
              <p:cNvSpPr/>
              <p:nvPr/>
            </p:nvSpPr>
            <p:spPr>
              <a:xfrm>
                <a:off x="6863132" y="3303634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69" name="矩形 43">
                <a:extLst>
                  <a:ext uri="{FF2B5EF4-FFF2-40B4-BE49-F238E27FC236}">
                    <a16:creationId xmlns:a16="http://schemas.microsoft.com/office/drawing/2014/main" id="{EBD201C1-9270-C252-63F2-CC847B157044}"/>
                  </a:ext>
                </a:extLst>
              </p:cNvPr>
              <p:cNvSpPr/>
              <p:nvPr/>
            </p:nvSpPr>
            <p:spPr>
              <a:xfrm>
                <a:off x="3833088" y="3595928"/>
                <a:ext cx="781515" cy="18282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0" name="矩形 44">
                <a:extLst>
                  <a:ext uri="{FF2B5EF4-FFF2-40B4-BE49-F238E27FC236}">
                    <a16:creationId xmlns:a16="http://schemas.microsoft.com/office/drawing/2014/main" id="{156BAFD1-15B8-AEA1-4FC1-A4B438C331ED}"/>
                  </a:ext>
                </a:extLst>
              </p:cNvPr>
              <p:cNvSpPr/>
              <p:nvPr/>
            </p:nvSpPr>
            <p:spPr>
              <a:xfrm>
                <a:off x="4116369" y="3501209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1" name="矩形 46">
                <a:extLst>
                  <a:ext uri="{FF2B5EF4-FFF2-40B4-BE49-F238E27FC236}">
                    <a16:creationId xmlns:a16="http://schemas.microsoft.com/office/drawing/2014/main" id="{4F3CC212-6AA7-ACE7-6484-B574951F3CC1}"/>
                  </a:ext>
                </a:extLst>
              </p:cNvPr>
              <p:cNvSpPr/>
              <p:nvPr/>
            </p:nvSpPr>
            <p:spPr>
              <a:xfrm>
                <a:off x="4985992" y="3390348"/>
                <a:ext cx="781515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2" name="矩形 47">
                <a:extLst>
                  <a:ext uri="{FF2B5EF4-FFF2-40B4-BE49-F238E27FC236}">
                    <a16:creationId xmlns:a16="http://schemas.microsoft.com/office/drawing/2014/main" id="{787B88D2-3EBA-A007-0628-B286C4BD806F}"/>
                  </a:ext>
                </a:extLst>
              </p:cNvPr>
              <p:cNvSpPr/>
              <p:nvPr/>
            </p:nvSpPr>
            <p:spPr>
              <a:xfrm>
                <a:off x="5162822" y="330128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3" name="矩形 48">
                <a:extLst>
                  <a:ext uri="{FF2B5EF4-FFF2-40B4-BE49-F238E27FC236}">
                    <a16:creationId xmlns:a16="http://schemas.microsoft.com/office/drawing/2014/main" id="{E9D38462-2204-A70F-B7F3-53081A87326E}"/>
                  </a:ext>
                </a:extLst>
              </p:cNvPr>
              <p:cNvSpPr/>
              <p:nvPr/>
            </p:nvSpPr>
            <p:spPr>
              <a:xfrm>
                <a:off x="5847525" y="3310204"/>
                <a:ext cx="656255" cy="476587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4" name="矩形 49">
                <a:extLst>
                  <a:ext uri="{FF2B5EF4-FFF2-40B4-BE49-F238E27FC236}">
                    <a16:creationId xmlns:a16="http://schemas.microsoft.com/office/drawing/2014/main" id="{C71200B6-F416-560E-3313-3E870C9B5AB6}"/>
                  </a:ext>
                </a:extLst>
              </p:cNvPr>
              <p:cNvSpPr/>
              <p:nvPr/>
            </p:nvSpPr>
            <p:spPr>
              <a:xfrm>
                <a:off x="6093225" y="3219220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5" name="矩形 50">
                <a:extLst>
                  <a:ext uri="{FF2B5EF4-FFF2-40B4-BE49-F238E27FC236}">
                    <a16:creationId xmlns:a16="http://schemas.microsoft.com/office/drawing/2014/main" id="{EBE97885-DDC9-447C-8D03-3EE650FACD1C}"/>
                  </a:ext>
                </a:extLst>
              </p:cNvPr>
              <p:cNvSpPr/>
              <p:nvPr/>
            </p:nvSpPr>
            <p:spPr>
              <a:xfrm>
                <a:off x="2723014" y="3396076"/>
                <a:ext cx="1009579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6" name="矩形 51">
                <a:extLst>
                  <a:ext uri="{FF2B5EF4-FFF2-40B4-BE49-F238E27FC236}">
                    <a16:creationId xmlns:a16="http://schemas.microsoft.com/office/drawing/2014/main" id="{74005B06-3C22-E310-5A13-742B717B0323}"/>
                  </a:ext>
                </a:extLst>
              </p:cNvPr>
              <p:cNvSpPr/>
              <p:nvPr/>
            </p:nvSpPr>
            <p:spPr>
              <a:xfrm>
                <a:off x="3127908" y="3307008"/>
                <a:ext cx="329712" cy="89068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7" name="矩形 52">
                <a:extLst>
                  <a:ext uri="{FF2B5EF4-FFF2-40B4-BE49-F238E27FC236}">
                    <a16:creationId xmlns:a16="http://schemas.microsoft.com/office/drawing/2014/main" id="{548ABB66-D9EE-9983-658C-244B50C44F8D}"/>
                  </a:ext>
                </a:extLst>
              </p:cNvPr>
              <p:cNvSpPr/>
              <p:nvPr/>
            </p:nvSpPr>
            <p:spPr>
              <a:xfrm>
                <a:off x="1544913" y="3486970"/>
                <a:ext cx="1097749" cy="291779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8" name="矩形 53">
                <a:extLst>
                  <a:ext uri="{FF2B5EF4-FFF2-40B4-BE49-F238E27FC236}">
                    <a16:creationId xmlns:a16="http://schemas.microsoft.com/office/drawing/2014/main" id="{8A320215-4DE7-82B0-C44C-5E92EE90827F}"/>
                  </a:ext>
                </a:extLst>
              </p:cNvPr>
              <p:cNvSpPr/>
              <p:nvPr/>
            </p:nvSpPr>
            <p:spPr>
              <a:xfrm>
                <a:off x="1818775" y="3219220"/>
                <a:ext cx="823396" cy="257791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79" name="矩形 54">
                <a:extLst>
                  <a:ext uri="{FF2B5EF4-FFF2-40B4-BE49-F238E27FC236}">
                    <a16:creationId xmlns:a16="http://schemas.microsoft.com/office/drawing/2014/main" id="{2807C19A-49FF-04F3-58DE-FC6932885F6D}"/>
                  </a:ext>
                </a:extLst>
              </p:cNvPr>
              <p:cNvSpPr/>
              <p:nvPr/>
            </p:nvSpPr>
            <p:spPr>
              <a:xfrm>
                <a:off x="1964468" y="2950493"/>
                <a:ext cx="677704" cy="258769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280" name="椭圆 55">
                <a:extLst>
                  <a:ext uri="{FF2B5EF4-FFF2-40B4-BE49-F238E27FC236}">
                    <a16:creationId xmlns:a16="http://schemas.microsoft.com/office/drawing/2014/main" id="{7D28BFC7-0A1F-F379-97D1-B284BE13D1A2}"/>
                  </a:ext>
                </a:extLst>
              </p:cNvPr>
              <p:cNvSpPr/>
              <p:nvPr/>
            </p:nvSpPr>
            <p:spPr>
              <a:xfrm>
                <a:off x="1195986" y="3503604"/>
                <a:ext cx="261718" cy="258509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281" name="直接连接符 56">
                <a:extLst>
                  <a:ext uri="{FF2B5EF4-FFF2-40B4-BE49-F238E27FC236}">
                    <a16:creationId xmlns:a16="http://schemas.microsoft.com/office/drawing/2014/main" id="{F3AE41C5-858E-CD76-D65A-76D38BFCAFD0}"/>
                  </a:ext>
                </a:extLst>
              </p:cNvPr>
              <p:cNvCxnSpPr/>
              <p:nvPr/>
            </p:nvCxnSpPr>
            <p:spPr>
              <a:xfrm flipH="1">
                <a:off x="1160923" y="3702475"/>
                <a:ext cx="74515" cy="84316"/>
              </a:xfrm>
              <a:prstGeom prst="line">
                <a:avLst/>
              </a:prstGeom>
              <a:grpFill/>
              <a:ln w="28575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2" name="直接连接符 57">
                <a:extLst>
                  <a:ext uri="{FF2B5EF4-FFF2-40B4-BE49-F238E27FC236}">
                    <a16:creationId xmlns:a16="http://schemas.microsoft.com/office/drawing/2014/main" id="{DBB5CABF-1311-3BB9-1342-E3072E381394}"/>
                  </a:ext>
                </a:extLst>
              </p:cNvPr>
              <p:cNvCxnSpPr/>
              <p:nvPr/>
            </p:nvCxnSpPr>
            <p:spPr>
              <a:xfrm>
                <a:off x="1436039" y="3702475"/>
                <a:ext cx="63530" cy="84316"/>
              </a:xfrm>
              <a:prstGeom prst="line">
                <a:avLst/>
              </a:prstGeom>
              <a:grpFill/>
              <a:ln w="28575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3" name="直接连接符 58">
                <a:extLst>
                  <a:ext uri="{FF2B5EF4-FFF2-40B4-BE49-F238E27FC236}">
                    <a16:creationId xmlns:a16="http://schemas.microsoft.com/office/drawing/2014/main" id="{BDE1904C-70D9-6DFF-6325-60AD44C33D96}"/>
                  </a:ext>
                </a:extLst>
              </p:cNvPr>
              <p:cNvCxnSpPr/>
              <p:nvPr/>
            </p:nvCxnSpPr>
            <p:spPr>
              <a:xfrm flipH="1">
                <a:off x="1108778" y="3786791"/>
                <a:ext cx="436135" cy="0"/>
              </a:xfrm>
              <a:prstGeom prst="line">
                <a:avLst/>
              </a:prstGeom>
              <a:grpFill/>
              <a:ln w="28575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4" name="直接连接符 60">
                <a:extLst>
                  <a:ext uri="{FF2B5EF4-FFF2-40B4-BE49-F238E27FC236}">
                    <a16:creationId xmlns:a16="http://schemas.microsoft.com/office/drawing/2014/main" id="{234F13C6-B62C-2C78-5380-A57E485D6087}"/>
                  </a:ext>
                </a:extLst>
              </p:cNvPr>
              <p:cNvCxnSpPr/>
              <p:nvPr/>
            </p:nvCxnSpPr>
            <p:spPr>
              <a:xfrm>
                <a:off x="1132456" y="3778749"/>
                <a:ext cx="412457" cy="359731"/>
              </a:xfrm>
              <a:prstGeom prst="line">
                <a:avLst/>
              </a:prstGeom>
              <a:grpFill/>
              <a:ln w="28575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5" name="直接连接符 62">
                <a:extLst>
                  <a:ext uri="{FF2B5EF4-FFF2-40B4-BE49-F238E27FC236}">
                    <a16:creationId xmlns:a16="http://schemas.microsoft.com/office/drawing/2014/main" id="{B4876E88-092C-16B9-AE40-3308A26DAB63}"/>
                  </a:ext>
                </a:extLst>
              </p:cNvPr>
              <p:cNvCxnSpPr/>
              <p:nvPr/>
            </p:nvCxnSpPr>
            <p:spPr>
              <a:xfrm flipH="1">
                <a:off x="1338685" y="3783568"/>
                <a:ext cx="160884" cy="179068"/>
              </a:xfrm>
              <a:prstGeom prst="line">
                <a:avLst/>
              </a:prstGeom>
              <a:grpFill/>
              <a:ln w="28575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286" name="矩形 65">
                <a:extLst>
                  <a:ext uri="{FF2B5EF4-FFF2-40B4-BE49-F238E27FC236}">
                    <a16:creationId xmlns:a16="http://schemas.microsoft.com/office/drawing/2014/main" id="{1BB98FAF-3E67-6706-A2A3-FAACC1B5B102}"/>
                  </a:ext>
                </a:extLst>
              </p:cNvPr>
              <p:cNvSpPr/>
              <p:nvPr/>
            </p:nvSpPr>
            <p:spPr>
              <a:xfrm>
                <a:off x="2312459" y="2796598"/>
                <a:ext cx="329712" cy="155882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287" name="直接连接符 66">
                <a:extLst>
                  <a:ext uri="{FF2B5EF4-FFF2-40B4-BE49-F238E27FC236}">
                    <a16:creationId xmlns:a16="http://schemas.microsoft.com/office/drawing/2014/main" id="{B904AABF-4D61-F128-F88D-A1D9510D13B9}"/>
                  </a:ext>
                </a:extLst>
              </p:cNvPr>
              <p:cNvCxnSpPr/>
              <p:nvPr/>
            </p:nvCxnSpPr>
            <p:spPr>
              <a:xfrm flipH="1">
                <a:off x="1467804" y="2796598"/>
                <a:ext cx="706534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8" name="直接连接符 74">
                <a:extLst>
                  <a:ext uri="{FF2B5EF4-FFF2-40B4-BE49-F238E27FC236}">
                    <a16:creationId xmlns:a16="http://schemas.microsoft.com/office/drawing/2014/main" id="{D1A94F84-D9B7-1E62-C1C6-D1148FE3FCA8}"/>
                  </a:ext>
                </a:extLst>
              </p:cNvPr>
              <p:cNvCxnSpPr/>
              <p:nvPr/>
            </p:nvCxnSpPr>
            <p:spPr>
              <a:xfrm flipH="1">
                <a:off x="1544914" y="2954602"/>
                <a:ext cx="419553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9" name="直接连接符 79">
                <a:extLst>
                  <a:ext uri="{FF2B5EF4-FFF2-40B4-BE49-F238E27FC236}">
                    <a16:creationId xmlns:a16="http://schemas.microsoft.com/office/drawing/2014/main" id="{75B3D5CE-07F1-A6A4-D9CE-A3776E7C9C4A}"/>
                  </a:ext>
                </a:extLst>
              </p:cNvPr>
              <p:cNvCxnSpPr/>
              <p:nvPr/>
            </p:nvCxnSpPr>
            <p:spPr>
              <a:xfrm>
                <a:off x="1527835" y="2796088"/>
                <a:ext cx="169358" cy="302045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0" name="直接连接符 80">
                <a:extLst>
                  <a:ext uri="{FF2B5EF4-FFF2-40B4-BE49-F238E27FC236}">
                    <a16:creationId xmlns:a16="http://schemas.microsoft.com/office/drawing/2014/main" id="{D512871E-C191-037F-7176-4DC11F5CB80A}"/>
                  </a:ext>
                </a:extLst>
              </p:cNvPr>
              <p:cNvCxnSpPr/>
              <p:nvPr/>
            </p:nvCxnSpPr>
            <p:spPr>
              <a:xfrm>
                <a:off x="1706888" y="3097735"/>
                <a:ext cx="0" cy="403474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1" name="直接连接符 83">
                <a:extLst>
                  <a:ext uri="{FF2B5EF4-FFF2-40B4-BE49-F238E27FC236}">
                    <a16:creationId xmlns:a16="http://schemas.microsoft.com/office/drawing/2014/main" id="{9866351B-D50C-24FE-7F9F-92B13B6EE131}"/>
                  </a:ext>
                </a:extLst>
              </p:cNvPr>
              <p:cNvCxnSpPr/>
              <p:nvPr/>
            </p:nvCxnSpPr>
            <p:spPr>
              <a:xfrm flipH="1">
                <a:off x="1624647" y="3097735"/>
                <a:ext cx="510407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2" name="直接连接符 87">
                <a:extLst>
                  <a:ext uri="{FF2B5EF4-FFF2-40B4-BE49-F238E27FC236}">
                    <a16:creationId xmlns:a16="http://schemas.microsoft.com/office/drawing/2014/main" id="{5DFEB7D1-614B-AD9A-6B17-7ACA8199F920}"/>
                  </a:ext>
                </a:extLst>
              </p:cNvPr>
              <p:cNvCxnSpPr/>
              <p:nvPr/>
            </p:nvCxnSpPr>
            <p:spPr>
              <a:xfrm flipH="1">
                <a:off x="1706850" y="2800829"/>
                <a:ext cx="130646" cy="303787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3" name="直接连接符 91">
                <a:extLst>
                  <a:ext uri="{FF2B5EF4-FFF2-40B4-BE49-F238E27FC236}">
                    <a16:creationId xmlns:a16="http://schemas.microsoft.com/office/drawing/2014/main" id="{807FEAA2-549B-23B3-7DFA-18BCE065EFB6}"/>
                  </a:ext>
                </a:extLst>
              </p:cNvPr>
              <p:cNvCxnSpPr/>
              <p:nvPr/>
            </p:nvCxnSpPr>
            <p:spPr>
              <a:xfrm flipH="1">
                <a:off x="1619957" y="2806557"/>
                <a:ext cx="54276" cy="13533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4" name="直接连接符 93">
                <a:extLst>
                  <a:ext uri="{FF2B5EF4-FFF2-40B4-BE49-F238E27FC236}">
                    <a16:creationId xmlns:a16="http://schemas.microsoft.com/office/drawing/2014/main" id="{4EB004E6-DE96-B14B-CDAD-1EF2F57DBF04}"/>
                  </a:ext>
                </a:extLst>
              </p:cNvPr>
              <p:cNvCxnSpPr/>
              <p:nvPr/>
            </p:nvCxnSpPr>
            <p:spPr>
              <a:xfrm>
                <a:off x="1835053" y="2788952"/>
                <a:ext cx="129414" cy="298824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5" name="直接连接符 99">
                <a:extLst>
                  <a:ext uri="{FF2B5EF4-FFF2-40B4-BE49-F238E27FC236}">
                    <a16:creationId xmlns:a16="http://schemas.microsoft.com/office/drawing/2014/main" id="{F851D823-A708-7043-D97D-58A2CF7E5A43}"/>
                  </a:ext>
                </a:extLst>
              </p:cNvPr>
              <p:cNvCxnSpPr/>
              <p:nvPr/>
            </p:nvCxnSpPr>
            <p:spPr>
              <a:xfrm flipH="1">
                <a:off x="1967456" y="2794113"/>
                <a:ext cx="163108" cy="303787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6" name="直接连接符 104">
                <a:extLst>
                  <a:ext uri="{FF2B5EF4-FFF2-40B4-BE49-F238E27FC236}">
                    <a16:creationId xmlns:a16="http://schemas.microsoft.com/office/drawing/2014/main" id="{480B7D53-A006-37F3-C26A-95FEC54086C7}"/>
                  </a:ext>
                </a:extLst>
              </p:cNvPr>
              <p:cNvCxnSpPr/>
              <p:nvPr/>
            </p:nvCxnSpPr>
            <p:spPr>
              <a:xfrm>
                <a:off x="1971481" y="3097735"/>
                <a:ext cx="0" cy="121485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7" name="直接连接符 112">
                <a:extLst>
                  <a:ext uri="{FF2B5EF4-FFF2-40B4-BE49-F238E27FC236}">
                    <a16:creationId xmlns:a16="http://schemas.microsoft.com/office/drawing/2014/main" id="{3CB6A083-C431-E0FB-AFDB-AB11B900DDB0}"/>
                  </a:ext>
                </a:extLst>
              </p:cNvPr>
              <p:cNvCxnSpPr/>
              <p:nvPr/>
            </p:nvCxnSpPr>
            <p:spPr>
              <a:xfrm>
                <a:off x="1686120" y="2800320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8" name="直接连接符 115">
                <a:extLst>
                  <a:ext uri="{FF2B5EF4-FFF2-40B4-BE49-F238E27FC236}">
                    <a16:creationId xmlns:a16="http://schemas.microsoft.com/office/drawing/2014/main" id="{6F7D0287-5A82-81F3-CA26-4AA8CAB04975}"/>
                  </a:ext>
                </a:extLst>
              </p:cNvPr>
              <p:cNvCxnSpPr/>
              <p:nvPr/>
            </p:nvCxnSpPr>
            <p:spPr>
              <a:xfrm flipH="1">
                <a:off x="1910033" y="2804228"/>
                <a:ext cx="65342" cy="147078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9" name="直接连接符 116">
                <a:extLst>
                  <a:ext uri="{FF2B5EF4-FFF2-40B4-BE49-F238E27FC236}">
                    <a16:creationId xmlns:a16="http://schemas.microsoft.com/office/drawing/2014/main" id="{1F4C1F39-F6EE-88C1-9C20-EFE80C7C75EC}"/>
                  </a:ext>
                </a:extLst>
              </p:cNvPr>
              <p:cNvCxnSpPr/>
              <p:nvPr/>
            </p:nvCxnSpPr>
            <p:spPr>
              <a:xfrm>
                <a:off x="1968367" y="2796074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0712033F-CD8F-AA35-26C3-D80CB346EB33}"/>
                  </a:ext>
                </a:extLst>
              </p:cNvPr>
              <p:cNvSpPr/>
              <p:nvPr/>
            </p:nvSpPr>
            <p:spPr>
              <a:xfrm>
                <a:off x="2729871" y="3741656"/>
                <a:ext cx="6539937" cy="45719"/>
              </a:xfrm>
              <a:prstGeom prst="rect">
                <a:avLst/>
              </a:prstGeom>
              <a:grpFill/>
              <a:ln w="12700" cap="flat" cmpd="sng" algn="ctr">
                <a:solidFill>
                  <a:srgbClr val="3CDBC0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</p:grp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1F4FEF47-A960-43C1-876F-2714A1C4707D}"/>
                </a:ext>
              </a:extLst>
            </p:cNvPr>
            <p:cNvSpPr txBox="1"/>
            <p:nvPr/>
          </p:nvSpPr>
          <p:spPr>
            <a:xfrm>
              <a:off x="8607693" y="579668"/>
              <a:ext cx="2090369" cy="40809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88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rPr>
                <a:t>Low Carbon Generation</a:t>
              </a:r>
            </a:p>
          </p:txBody>
        </p:sp>
      </p:grpSp>
      <p:sp>
        <p:nvSpPr>
          <p:cNvPr id="301" name="Oval 300">
            <a:extLst>
              <a:ext uri="{FF2B5EF4-FFF2-40B4-BE49-F238E27FC236}">
                <a16:creationId xmlns:a16="http://schemas.microsoft.com/office/drawing/2014/main" id="{13B5EA7C-DEB4-85B4-6266-2F396C2E61AF}"/>
              </a:ext>
            </a:extLst>
          </p:cNvPr>
          <p:cNvSpPr/>
          <p:nvPr/>
        </p:nvSpPr>
        <p:spPr>
          <a:xfrm>
            <a:off x="7847968" y="3275210"/>
            <a:ext cx="226132" cy="20574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rgbClr val="3CDBC0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幼圆"/>
              <a:cs typeface="Calibri"/>
              <a:sym typeface="Calibri"/>
            </a:endParaRPr>
          </a:p>
        </p:txBody>
      </p: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0A16C1CB-DBB3-C7A7-BE1B-6FF6D8C93BFB}"/>
              </a:ext>
            </a:extLst>
          </p:cNvPr>
          <p:cNvGrpSpPr/>
          <p:nvPr/>
        </p:nvGrpSpPr>
        <p:grpSpPr>
          <a:xfrm>
            <a:off x="2700686" y="4216618"/>
            <a:ext cx="1469213" cy="646809"/>
            <a:chOff x="617620" y="3610586"/>
            <a:chExt cx="1958950" cy="8624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15CA542B-9271-35D5-7CF9-C821F8529851}"/>
                </a:ext>
              </a:extLst>
            </p:cNvPr>
            <p:cNvGrpSpPr/>
            <p:nvPr/>
          </p:nvGrpSpPr>
          <p:grpSpPr>
            <a:xfrm>
              <a:off x="617620" y="3610586"/>
              <a:ext cx="1958950" cy="803872"/>
              <a:chOff x="1108777" y="1732320"/>
              <a:chExt cx="9106151" cy="3124588"/>
            </a:xfrm>
            <a:solidFill>
              <a:srgbClr val="CB6015"/>
            </a:solidFill>
          </p:grpSpPr>
          <p:sp>
            <p:nvSpPr>
              <p:cNvPr id="306" name="剪去同侧角的矩形 2">
                <a:extLst>
                  <a:ext uri="{FF2B5EF4-FFF2-40B4-BE49-F238E27FC236}">
                    <a16:creationId xmlns:a16="http://schemas.microsoft.com/office/drawing/2014/main" id="{50BDA65D-ABAF-6193-D376-468BFFDE64F9}"/>
                  </a:ext>
                </a:extLst>
              </p:cNvPr>
              <p:cNvSpPr/>
              <p:nvPr/>
            </p:nvSpPr>
            <p:spPr>
              <a:xfrm rot="10800000">
                <a:off x="1549491" y="3788692"/>
                <a:ext cx="8665437" cy="1068216"/>
              </a:xfrm>
              <a:prstGeom prst="snip2SameRect">
                <a:avLst/>
              </a:prstGeom>
              <a:solidFill>
                <a:srgbClr val="FF0000"/>
              </a:solidFill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07" name="流程图: 手动操作 5">
                <a:extLst>
                  <a:ext uri="{FF2B5EF4-FFF2-40B4-BE49-F238E27FC236}">
                    <a16:creationId xmlns:a16="http://schemas.microsoft.com/office/drawing/2014/main" id="{479BE7B7-30C9-8DDC-5BCB-9CD17297F181}"/>
                  </a:ext>
                </a:extLst>
              </p:cNvPr>
              <p:cNvSpPr/>
              <p:nvPr/>
            </p:nvSpPr>
            <p:spPr>
              <a:xfrm rot="10800000">
                <a:off x="9434489" y="2080868"/>
                <a:ext cx="298070" cy="1702846"/>
              </a:xfrm>
              <a:prstGeom prst="flowChartManualOperation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08" name="椭圆 8">
                <a:extLst>
                  <a:ext uri="{FF2B5EF4-FFF2-40B4-BE49-F238E27FC236}">
                    <a16:creationId xmlns:a16="http://schemas.microsoft.com/office/drawing/2014/main" id="{4C54BFD6-36A6-E6D2-B07C-59EE61116E92}"/>
                  </a:ext>
                </a:extLst>
              </p:cNvPr>
              <p:cNvSpPr/>
              <p:nvPr/>
            </p:nvSpPr>
            <p:spPr>
              <a:xfrm>
                <a:off x="9842886" y="3499657"/>
                <a:ext cx="261719" cy="258508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09" name="矩形 17">
                <a:extLst>
                  <a:ext uri="{FF2B5EF4-FFF2-40B4-BE49-F238E27FC236}">
                    <a16:creationId xmlns:a16="http://schemas.microsoft.com/office/drawing/2014/main" id="{CCE3BDEE-066C-CF5F-4B64-92F3DC558118}"/>
                  </a:ext>
                </a:extLst>
              </p:cNvPr>
              <p:cNvSpPr/>
              <p:nvPr/>
            </p:nvSpPr>
            <p:spPr>
              <a:xfrm>
                <a:off x="4722761" y="3403137"/>
                <a:ext cx="144782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0" name="矩形 18">
                <a:extLst>
                  <a:ext uri="{FF2B5EF4-FFF2-40B4-BE49-F238E27FC236}">
                    <a16:creationId xmlns:a16="http://schemas.microsoft.com/office/drawing/2014/main" id="{E9695A64-A315-789E-BA20-52376E77EDEE}"/>
                  </a:ext>
                </a:extLst>
              </p:cNvPr>
              <p:cNvSpPr/>
              <p:nvPr/>
            </p:nvSpPr>
            <p:spPr>
              <a:xfrm>
                <a:off x="4684657" y="3285845"/>
                <a:ext cx="220980" cy="13252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1" name="矩形 23">
                <a:extLst>
                  <a:ext uri="{FF2B5EF4-FFF2-40B4-BE49-F238E27FC236}">
                    <a16:creationId xmlns:a16="http://schemas.microsoft.com/office/drawing/2014/main" id="{C86143B0-EA5E-60A1-63E2-F0C8580F66AD}"/>
                  </a:ext>
                </a:extLst>
              </p:cNvPr>
              <p:cNvSpPr/>
              <p:nvPr/>
            </p:nvSpPr>
            <p:spPr>
              <a:xfrm>
                <a:off x="4712599" y="3140645"/>
                <a:ext cx="167638" cy="145196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2" name="任意多边形 26">
                <a:extLst>
                  <a:ext uri="{FF2B5EF4-FFF2-40B4-BE49-F238E27FC236}">
                    <a16:creationId xmlns:a16="http://schemas.microsoft.com/office/drawing/2014/main" id="{39A70216-ACDF-2A7E-984E-DFF03B276326}"/>
                  </a:ext>
                </a:extLst>
              </p:cNvPr>
              <p:cNvSpPr/>
              <p:nvPr/>
            </p:nvSpPr>
            <p:spPr>
              <a:xfrm>
                <a:off x="4867538" y="3140645"/>
                <a:ext cx="916942" cy="102051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3" name="矩形 29">
                <a:extLst>
                  <a:ext uri="{FF2B5EF4-FFF2-40B4-BE49-F238E27FC236}">
                    <a16:creationId xmlns:a16="http://schemas.microsoft.com/office/drawing/2014/main" id="{1CE5C025-3742-6DC3-EDE1-9303EE707FF8}"/>
                  </a:ext>
                </a:extLst>
              </p:cNvPr>
              <p:cNvSpPr/>
              <p:nvPr/>
            </p:nvSpPr>
            <p:spPr>
              <a:xfrm>
                <a:off x="7484082" y="3403137"/>
                <a:ext cx="144782" cy="385556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4" name="矩形 32">
                <a:extLst>
                  <a:ext uri="{FF2B5EF4-FFF2-40B4-BE49-F238E27FC236}">
                    <a16:creationId xmlns:a16="http://schemas.microsoft.com/office/drawing/2014/main" id="{AFF48AF8-72D4-57BD-7011-97C2428F246B}"/>
                  </a:ext>
                </a:extLst>
              </p:cNvPr>
              <p:cNvSpPr/>
              <p:nvPr/>
            </p:nvSpPr>
            <p:spPr>
              <a:xfrm>
                <a:off x="7445332" y="3285414"/>
                <a:ext cx="220980" cy="13252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5" name="矩形 33">
                <a:extLst>
                  <a:ext uri="{FF2B5EF4-FFF2-40B4-BE49-F238E27FC236}">
                    <a16:creationId xmlns:a16="http://schemas.microsoft.com/office/drawing/2014/main" id="{41EFA560-1E63-DC41-2667-6992E21DA2EA}"/>
                  </a:ext>
                </a:extLst>
              </p:cNvPr>
              <p:cNvSpPr/>
              <p:nvPr/>
            </p:nvSpPr>
            <p:spPr>
              <a:xfrm>
                <a:off x="7473270" y="3140214"/>
                <a:ext cx="167638" cy="145196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6" name="任意多边形 34">
                <a:extLst>
                  <a:ext uri="{FF2B5EF4-FFF2-40B4-BE49-F238E27FC236}">
                    <a16:creationId xmlns:a16="http://schemas.microsoft.com/office/drawing/2014/main" id="{94459446-7FD9-887D-CED2-9A037351CB77}"/>
                  </a:ext>
                </a:extLst>
              </p:cNvPr>
              <p:cNvSpPr/>
              <p:nvPr/>
            </p:nvSpPr>
            <p:spPr>
              <a:xfrm>
                <a:off x="7628213" y="3140214"/>
                <a:ext cx="916942" cy="102051"/>
              </a:xfrm>
              <a:custGeom>
                <a:avLst/>
                <a:gdLst>
                  <a:gd name="connsiteX0" fmla="*/ 0 w 1003300"/>
                  <a:gd name="connsiteY0" fmla="*/ 0 h 200660"/>
                  <a:gd name="connsiteX1" fmla="*/ 1003300 w 1003300"/>
                  <a:gd name="connsiteY1" fmla="*/ 0 h 200660"/>
                  <a:gd name="connsiteX2" fmla="*/ 1000760 w 1003300"/>
                  <a:gd name="connsiteY2" fmla="*/ 78740 h 200660"/>
                  <a:gd name="connsiteX3" fmla="*/ 7620 w 1003300"/>
                  <a:gd name="connsiteY3" fmla="*/ 200660 h 200660"/>
                  <a:gd name="connsiteX4" fmla="*/ 0 w 1003300"/>
                  <a:gd name="connsiteY4" fmla="*/ 0 h 20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3300" h="200660">
                    <a:moveTo>
                      <a:pt x="0" y="0"/>
                    </a:moveTo>
                    <a:lnTo>
                      <a:pt x="1003300" y="0"/>
                    </a:lnTo>
                    <a:cubicBezTo>
                      <a:pt x="1002453" y="26247"/>
                      <a:pt x="1001607" y="52493"/>
                      <a:pt x="1000760" y="78740"/>
                    </a:cubicBezTo>
                    <a:lnTo>
                      <a:pt x="7620" y="2006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7" name="爆炸形 2 27">
                <a:extLst>
                  <a:ext uri="{FF2B5EF4-FFF2-40B4-BE49-F238E27FC236}">
                    <a16:creationId xmlns:a16="http://schemas.microsoft.com/office/drawing/2014/main" id="{3F8EC51F-DEFD-54AC-FAEC-C7562ECB8247}"/>
                  </a:ext>
                </a:extLst>
              </p:cNvPr>
              <p:cNvSpPr/>
              <p:nvPr/>
            </p:nvSpPr>
            <p:spPr>
              <a:xfrm>
                <a:off x="9536723" y="1732320"/>
                <a:ext cx="93602" cy="333284"/>
              </a:xfrm>
              <a:prstGeom prst="irregularSeal2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8" name="矩形 37">
                <a:extLst>
                  <a:ext uri="{FF2B5EF4-FFF2-40B4-BE49-F238E27FC236}">
                    <a16:creationId xmlns:a16="http://schemas.microsoft.com/office/drawing/2014/main" id="{7ACA0ECA-AA99-C121-AE09-583C9163D2CC}"/>
                  </a:ext>
                </a:extLst>
              </p:cNvPr>
              <p:cNvSpPr/>
              <p:nvPr/>
            </p:nvSpPr>
            <p:spPr>
              <a:xfrm>
                <a:off x="8607863" y="3390333"/>
                <a:ext cx="781517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19" name="矩形 38">
                <a:extLst>
                  <a:ext uri="{FF2B5EF4-FFF2-40B4-BE49-F238E27FC236}">
                    <a16:creationId xmlns:a16="http://schemas.microsoft.com/office/drawing/2014/main" id="{DF00DF07-5796-B55B-33BD-1811F2AB7AE7}"/>
                  </a:ext>
                </a:extLst>
              </p:cNvPr>
              <p:cNvSpPr/>
              <p:nvPr/>
            </p:nvSpPr>
            <p:spPr>
              <a:xfrm>
                <a:off x="7717915" y="3390333"/>
                <a:ext cx="809929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0" name="矩形 39">
                <a:extLst>
                  <a:ext uri="{FF2B5EF4-FFF2-40B4-BE49-F238E27FC236}">
                    <a16:creationId xmlns:a16="http://schemas.microsoft.com/office/drawing/2014/main" id="{262E72E9-B44A-F954-1C26-3B8230585C72}"/>
                  </a:ext>
                </a:extLst>
              </p:cNvPr>
              <p:cNvSpPr/>
              <p:nvPr/>
            </p:nvSpPr>
            <p:spPr>
              <a:xfrm>
                <a:off x="7923159" y="3301264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1" name="矩形 40">
                <a:extLst>
                  <a:ext uri="{FF2B5EF4-FFF2-40B4-BE49-F238E27FC236}">
                    <a16:creationId xmlns:a16="http://schemas.microsoft.com/office/drawing/2014/main" id="{E539F367-4DF0-566A-3D42-A9CBF4D2E56C}"/>
                  </a:ext>
                </a:extLst>
              </p:cNvPr>
              <p:cNvSpPr/>
              <p:nvPr/>
            </p:nvSpPr>
            <p:spPr>
              <a:xfrm>
                <a:off x="9059668" y="3291742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2" name="矩形 41">
                <a:extLst>
                  <a:ext uri="{FF2B5EF4-FFF2-40B4-BE49-F238E27FC236}">
                    <a16:creationId xmlns:a16="http://schemas.microsoft.com/office/drawing/2014/main" id="{B421F4C2-CC03-A53C-E6C4-38BB56210514}"/>
                  </a:ext>
                </a:extLst>
              </p:cNvPr>
              <p:cNvSpPr/>
              <p:nvPr/>
            </p:nvSpPr>
            <p:spPr>
              <a:xfrm>
                <a:off x="6573495" y="3395153"/>
                <a:ext cx="815953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3" name="矩形 42">
                <a:extLst>
                  <a:ext uri="{FF2B5EF4-FFF2-40B4-BE49-F238E27FC236}">
                    <a16:creationId xmlns:a16="http://schemas.microsoft.com/office/drawing/2014/main" id="{608930D9-967F-E095-30F1-E3113B404668}"/>
                  </a:ext>
                </a:extLst>
              </p:cNvPr>
              <p:cNvSpPr/>
              <p:nvPr/>
            </p:nvSpPr>
            <p:spPr>
              <a:xfrm>
                <a:off x="6863133" y="3303620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4" name="矩形 43">
                <a:extLst>
                  <a:ext uri="{FF2B5EF4-FFF2-40B4-BE49-F238E27FC236}">
                    <a16:creationId xmlns:a16="http://schemas.microsoft.com/office/drawing/2014/main" id="{F5ACA7F0-CFF7-1EF6-2EEF-E2FA9FC79E1A}"/>
                  </a:ext>
                </a:extLst>
              </p:cNvPr>
              <p:cNvSpPr/>
              <p:nvPr/>
            </p:nvSpPr>
            <p:spPr>
              <a:xfrm>
                <a:off x="3833087" y="3595913"/>
                <a:ext cx="781517" cy="18282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5" name="矩形 44">
                <a:extLst>
                  <a:ext uri="{FF2B5EF4-FFF2-40B4-BE49-F238E27FC236}">
                    <a16:creationId xmlns:a16="http://schemas.microsoft.com/office/drawing/2014/main" id="{AB65CE82-21F4-6CDA-F554-6668B3451323}"/>
                  </a:ext>
                </a:extLst>
              </p:cNvPr>
              <p:cNvSpPr/>
              <p:nvPr/>
            </p:nvSpPr>
            <p:spPr>
              <a:xfrm>
                <a:off x="4116370" y="3501192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6" name="矩形 46">
                <a:extLst>
                  <a:ext uri="{FF2B5EF4-FFF2-40B4-BE49-F238E27FC236}">
                    <a16:creationId xmlns:a16="http://schemas.microsoft.com/office/drawing/2014/main" id="{50E5E6AC-62BC-665F-65F2-49FD4424A75D}"/>
                  </a:ext>
                </a:extLst>
              </p:cNvPr>
              <p:cNvSpPr/>
              <p:nvPr/>
            </p:nvSpPr>
            <p:spPr>
              <a:xfrm>
                <a:off x="4985990" y="3390333"/>
                <a:ext cx="781517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7" name="矩形 47">
                <a:extLst>
                  <a:ext uri="{FF2B5EF4-FFF2-40B4-BE49-F238E27FC236}">
                    <a16:creationId xmlns:a16="http://schemas.microsoft.com/office/drawing/2014/main" id="{1442C088-B835-DCAE-A616-03E5D8E9046B}"/>
                  </a:ext>
                </a:extLst>
              </p:cNvPr>
              <p:cNvSpPr/>
              <p:nvPr/>
            </p:nvSpPr>
            <p:spPr>
              <a:xfrm>
                <a:off x="5162824" y="3301264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8" name="矩形 48">
                <a:extLst>
                  <a:ext uri="{FF2B5EF4-FFF2-40B4-BE49-F238E27FC236}">
                    <a16:creationId xmlns:a16="http://schemas.microsoft.com/office/drawing/2014/main" id="{21B3B366-18C9-2739-73DC-784557F68BAB}"/>
                  </a:ext>
                </a:extLst>
              </p:cNvPr>
              <p:cNvSpPr/>
              <p:nvPr/>
            </p:nvSpPr>
            <p:spPr>
              <a:xfrm>
                <a:off x="5847522" y="3310189"/>
                <a:ext cx="656255" cy="476583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29" name="矩形 49">
                <a:extLst>
                  <a:ext uri="{FF2B5EF4-FFF2-40B4-BE49-F238E27FC236}">
                    <a16:creationId xmlns:a16="http://schemas.microsoft.com/office/drawing/2014/main" id="{E1BCF2D2-C204-3880-68DE-8A58A4CB7F60}"/>
                  </a:ext>
                </a:extLst>
              </p:cNvPr>
              <p:cNvSpPr/>
              <p:nvPr/>
            </p:nvSpPr>
            <p:spPr>
              <a:xfrm>
                <a:off x="6093223" y="3219208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0" name="矩形 50">
                <a:extLst>
                  <a:ext uri="{FF2B5EF4-FFF2-40B4-BE49-F238E27FC236}">
                    <a16:creationId xmlns:a16="http://schemas.microsoft.com/office/drawing/2014/main" id="{6EBB5D0C-4BBE-3036-3E65-8FF42089B37E}"/>
                  </a:ext>
                </a:extLst>
              </p:cNvPr>
              <p:cNvSpPr/>
              <p:nvPr/>
            </p:nvSpPr>
            <p:spPr>
              <a:xfrm>
                <a:off x="2723015" y="3396063"/>
                <a:ext cx="1009581" cy="38840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1" name="矩形 51">
                <a:extLst>
                  <a:ext uri="{FF2B5EF4-FFF2-40B4-BE49-F238E27FC236}">
                    <a16:creationId xmlns:a16="http://schemas.microsoft.com/office/drawing/2014/main" id="{59D4EDC3-3F47-419F-5663-28778501E77D}"/>
                  </a:ext>
                </a:extLst>
              </p:cNvPr>
              <p:cNvSpPr/>
              <p:nvPr/>
            </p:nvSpPr>
            <p:spPr>
              <a:xfrm>
                <a:off x="3127907" y="3306994"/>
                <a:ext cx="329712" cy="8906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2" name="矩形 52">
                <a:extLst>
                  <a:ext uri="{FF2B5EF4-FFF2-40B4-BE49-F238E27FC236}">
                    <a16:creationId xmlns:a16="http://schemas.microsoft.com/office/drawing/2014/main" id="{DACC42A4-81F6-15A6-9EC0-9143EFA6CDB1}"/>
                  </a:ext>
                </a:extLst>
              </p:cNvPr>
              <p:cNvSpPr/>
              <p:nvPr/>
            </p:nvSpPr>
            <p:spPr>
              <a:xfrm>
                <a:off x="1544912" y="3486954"/>
                <a:ext cx="1097749" cy="291776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3" name="矩形 53">
                <a:extLst>
                  <a:ext uri="{FF2B5EF4-FFF2-40B4-BE49-F238E27FC236}">
                    <a16:creationId xmlns:a16="http://schemas.microsoft.com/office/drawing/2014/main" id="{F432A273-E3D6-9EB5-295F-611A7DDB0C97}"/>
                  </a:ext>
                </a:extLst>
              </p:cNvPr>
              <p:cNvSpPr/>
              <p:nvPr/>
            </p:nvSpPr>
            <p:spPr>
              <a:xfrm>
                <a:off x="1818773" y="3219208"/>
                <a:ext cx="823396" cy="257789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4" name="矩形 54">
                <a:extLst>
                  <a:ext uri="{FF2B5EF4-FFF2-40B4-BE49-F238E27FC236}">
                    <a16:creationId xmlns:a16="http://schemas.microsoft.com/office/drawing/2014/main" id="{471E6385-15C2-07F6-79EB-CEED26DD7369}"/>
                  </a:ext>
                </a:extLst>
              </p:cNvPr>
              <p:cNvSpPr/>
              <p:nvPr/>
            </p:nvSpPr>
            <p:spPr>
              <a:xfrm>
                <a:off x="1964466" y="2950481"/>
                <a:ext cx="677703" cy="258768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sp>
            <p:nvSpPr>
              <p:cNvPr id="335" name="椭圆 55">
                <a:extLst>
                  <a:ext uri="{FF2B5EF4-FFF2-40B4-BE49-F238E27FC236}">
                    <a16:creationId xmlns:a16="http://schemas.microsoft.com/office/drawing/2014/main" id="{946E33F2-F285-44AB-163A-454E5E413F77}"/>
                  </a:ext>
                </a:extLst>
              </p:cNvPr>
              <p:cNvSpPr/>
              <p:nvPr/>
            </p:nvSpPr>
            <p:spPr>
              <a:xfrm>
                <a:off x="1195987" y="3503590"/>
                <a:ext cx="261719" cy="258508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336" name="直接连接符 56">
                <a:extLst>
                  <a:ext uri="{FF2B5EF4-FFF2-40B4-BE49-F238E27FC236}">
                    <a16:creationId xmlns:a16="http://schemas.microsoft.com/office/drawing/2014/main" id="{003A0A5C-E348-3DA4-6B20-C91D498B849C}"/>
                  </a:ext>
                </a:extLst>
              </p:cNvPr>
              <p:cNvCxnSpPr/>
              <p:nvPr/>
            </p:nvCxnSpPr>
            <p:spPr>
              <a:xfrm flipH="1">
                <a:off x="1160924" y="3702457"/>
                <a:ext cx="74515" cy="84315"/>
              </a:xfrm>
              <a:prstGeom prst="line">
                <a:avLst/>
              </a:prstGeom>
              <a:grpFill/>
              <a:ln w="28575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7" name="直接连接符 57">
                <a:extLst>
                  <a:ext uri="{FF2B5EF4-FFF2-40B4-BE49-F238E27FC236}">
                    <a16:creationId xmlns:a16="http://schemas.microsoft.com/office/drawing/2014/main" id="{89F52E83-37D9-414A-458B-0AACE5DFF051}"/>
                  </a:ext>
                </a:extLst>
              </p:cNvPr>
              <p:cNvCxnSpPr/>
              <p:nvPr/>
            </p:nvCxnSpPr>
            <p:spPr>
              <a:xfrm>
                <a:off x="1436040" y="3702457"/>
                <a:ext cx="63531" cy="84315"/>
              </a:xfrm>
              <a:prstGeom prst="line">
                <a:avLst/>
              </a:prstGeom>
              <a:grpFill/>
              <a:ln w="28575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8" name="直接连接符 58">
                <a:extLst>
                  <a:ext uri="{FF2B5EF4-FFF2-40B4-BE49-F238E27FC236}">
                    <a16:creationId xmlns:a16="http://schemas.microsoft.com/office/drawing/2014/main" id="{AFB0D5D2-14B4-120B-6CB1-98F97EBD7CEC}"/>
                  </a:ext>
                </a:extLst>
              </p:cNvPr>
              <p:cNvCxnSpPr/>
              <p:nvPr/>
            </p:nvCxnSpPr>
            <p:spPr>
              <a:xfrm flipH="1">
                <a:off x="1108777" y="3786776"/>
                <a:ext cx="436135" cy="0"/>
              </a:xfrm>
              <a:prstGeom prst="line">
                <a:avLst/>
              </a:prstGeom>
              <a:grpFill/>
              <a:ln w="28575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9" name="直接连接符 60">
                <a:extLst>
                  <a:ext uri="{FF2B5EF4-FFF2-40B4-BE49-F238E27FC236}">
                    <a16:creationId xmlns:a16="http://schemas.microsoft.com/office/drawing/2014/main" id="{5228343E-14FC-4FCB-76A3-C09CC2AB1BF5}"/>
                  </a:ext>
                </a:extLst>
              </p:cNvPr>
              <p:cNvCxnSpPr/>
              <p:nvPr/>
            </p:nvCxnSpPr>
            <p:spPr>
              <a:xfrm>
                <a:off x="1132456" y="3778734"/>
                <a:ext cx="412456" cy="359731"/>
              </a:xfrm>
              <a:prstGeom prst="line">
                <a:avLst/>
              </a:prstGeom>
              <a:grpFill/>
              <a:ln w="28575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0" name="直接连接符 62">
                <a:extLst>
                  <a:ext uri="{FF2B5EF4-FFF2-40B4-BE49-F238E27FC236}">
                    <a16:creationId xmlns:a16="http://schemas.microsoft.com/office/drawing/2014/main" id="{2D51484A-6C45-5772-78F8-B224E5E7C979}"/>
                  </a:ext>
                </a:extLst>
              </p:cNvPr>
              <p:cNvCxnSpPr/>
              <p:nvPr/>
            </p:nvCxnSpPr>
            <p:spPr>
              <a:xfrm flipH="1">
                <a:off x="1338681" y="3783550"/>
                <a:ext cx="160884" cy="179067"/>
              </a:xfrm>
              <a:prstGeom prst="line">
                <a:avLst/>
              </a:prstGeom>
              <a:grpFill/>
              <a:ln w="28575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1" name="矩形 65">
                <a:extLst>
                  <a:ext uri="{FF2B5EF4-FFF2-40B4-BE49-F238E27FC236}">
                    <a16:creationId xmlns:a16="http://schemas.microsoft.com/office/drawing/2014/main" id="{DD7D9B0C-0565-F100-9328-E7965F667548}"/>
                  </a:ext>
                </a:extLst>
              </p:cNvPr>
              <p:cNvSpPr/>
              <p:nvPr/>
            </p:nvSpPr>
            <p:spPr>
              <a:xfrm>
                <a:off x="2312455" y="2796587"/>
                <a:ext cx="329712" cy="155881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  <p:cxnSp>
            <p:nvCxnSpPr>
              <p:cNvPr id="342" name="直接连接符 66">
                <a:extLst>
                  <a:ext uri="{FF2B5EF4-FFF2-40B4-BE49-F238E27FC236}">
                    <a16:creationId xmlns:a16="http://schemas.microsoft.com/office/drawing/2014/main" id="{EAD7656A-F57F-37CD-D5C5-1B70748415C0}"/>
                  </a:ext>
                </a:extLst>
              </p:cNvPr>
              <p:cNvCxnSpPr/>
              <p:nvPr/>
            </p:nvCxnSpPr>
            <p:spPr>
              <a:xfrm flipH="1">
                <a:off x="1467802" y="2796587"/>
                <a:ext cx="706533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3" name="直接连接符 74">
                <a:extLst>
                  <a:ext uri="{FF2B5EF4-FFF2-40B4-BE49-F238E27FC236}">
                    <a16:creationId xmlns:a16="http://schemas.microsoft.com/office/drawing/2014/main" id="{82925642-5B29-4D48-F263-CDE1FD081F59}"/>
                  </a:ext>
                </a:extLst>
              </p:cNvPr>
              <p:cNvCxnSpPr/>
              <p:nvPr/>
            </p:nvCxnSpPr>
            <p:spPr>
              <a:xfrm flipH="1">
                <a:off x="1544912" y="2954590"/>
                <a:ext cx="419554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4" name="直接连接符 79">
                <a:extLst>
                  <a:ext uri="{FF2B5EF4-FFF2-40B4-BE49-F238E27FC236}">
                    <a16:creationId xmlns:a16="http://schemas.microsoft.com/office/drawing/2014/main" id="{FCC36213-2A9D-A437-A8E4-AD8B47BA365E}"/>
                  </a:ext>
                </a:extLst>
              </p:cNvPr>
              <p:cNvCxnSpPr/>
              <p:nvPr/>
            </p:nvCxnSpPr>
            <p:spPr>
              <a:xfrm>
                <a:off x="1527833" y="2796077"/>
                <a:ext cx="169358" cy="302045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5" name="直接连接符 80">
                <a:extLst>
                  <a:ext uri="{FF2B5EF4-FFF2-40B4-BE49-F238E27FC236}">
                    <a16:creationId xmlns:a16="http://schemas.microsoft.com/office/drawing/2014/main" id="{C29C7DC4-EFA1-84D7-783D-4BE49F85D36D}"/>
                  </a:ext>
                </a:extLst>
              </p:cNvPr>
              <p:cNvCxnSpPr/>
              <p:nvPr/>
            </p:nvCxnSpPr>
            <p:spPr>
              <a:xfrm>
                <a:off x="1706888" y="3097722"/>
                <a:ext cx="0" cy="40347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6" name="直接连接符 83">
                <a:extLst>
                  <a:ext uri="{FF2B5EF4-FFF2-40B4-BE49-F238E27FC236}">
                    <a16:creationId xmlns:a16="http://schemas.microsoft.com/office/drawing/2014/main" id="{4645DAD1-9653-9DB8-C3BF-01102A965BFC}"/>
                  </a:ext>
                </a:extLst>
              </p:cNvPr>
              <p:cNvCxnSpPr/>
              <p:nvPr/>
            </p:nvCxnSpPr>
            <p:spPr>
              <a:xfrm flipH="1">
                <a:off x="1624647" y="3097722"/>
                <a:ext cx="510408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7" name="直接连接符 87">
                <a:extLst>
                  <a:ext uri="{FF2B5EF4-FFF2-40B4-BE49-F238E27FC236}">
                    <a16:creationId xmlns:a16="http://schemas.microsoft.com/office/drawing/2014/main" id="{282024F9-66B7-CDDF-3DF5-A9DEB40108F1}"/>
                  </a:ext>
                </a:extLst>
              </p:cNvPr>
              <p:cNvCxnSpPr/>
              <p:nvPr/>
            </p:nvCxnSpPr>
            <p:spPr>
              <a:xfrm flipH="1">
                <a:off x="1706851" y="2800819"/>
                <a:ext cx="130646" cy="303786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8" name="直接连接符 91">
                <a:extLst>
                  <a:ext uri="{FF2B5EF4-FFF2-40B4-BE49-F238E27FC236}">
                    <a16:creationId xmlns:a16="http://schemas.microsoft.com/office/drawing/2014/main" id="{5C62FC06-CAFD-111B-C3DC-F8CBE465D68B}"/>
                  </a:ext>
                </a:extLst>
              </p:cNvPr>
              <p:cNvCxnSpPr/>
              <p:nvPr/>
            </p:nvCxnSpPr>
            <p:spPr>
              <a:xfrm flipH="1">
                <a:off x="1619957" y="2806545"/>
                <a:ext cx="54276" cy="135331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9" name="直接连接符 93">
                <a:extLst>
                  <a:ext uri="{FF2B5EF4-FFF2-40B4-BE49-F238E27FC236}">
                    <a16:creationId xmlns:a16="http://schemas.microsoft.com/office/drawing/2014/main" id="{B682B0FD-0DE2-E2DB-5B8B-35B78739BB4B}"/>
                  </a:ext>
                </a:extLst>
              </p:cNvPr>
              <p:cNvCxnSpPr/>
              <p:nvPr/>
            </p:nvCxnSpPr>
            <p:spPr>
              <a:xfrm>
                <a:off x="1835052" y="2788941"/>
                <a:ext cx="129414" cy="298823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0" name="直接连接符 99">
                <a:extLst>
                  <a:ext uri="{FF2B5EF4-FFF2-40B4-BE49-F238E27FC236}">
                    <a16:creationId xmlns:a16="http://schemas.microsoft.com/office/drawing/2014/main" id="{0537786E-E05D-8BF0-5F3D-8578E516C15D}"/>
                  </a:ext>
                </a:extLst>
              </p:cNvPr>
              <p:cNvCxnSpPr/>
              <p:nvPr/>
            </p:nvCxnSpPr>
            <p:spPr>
              <a:xfrm flipH="1">
                <a:off x="1967455" y="2794103"/>
                <a:ext cx="163106" cy="303786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1" name="直接连接符 104">
                <a:extLst>
                  <a:ext uri="{FF2B5EF4-FFF2-40B4-BE49-F238E27FC236}">
                    <a16:creationId xmlns:a16="http://schemas.microsoft.com/office/drawing/2014/main" id="{33360496-F596-FBB2-CF6E-A0D6BBE6689B}"/>
                  </a:ext>
                </a:extLst>
              </p:cNvPr>
              <p:cNvCxnSpPr/>
              <p:nvPr/>
            </p:nvCxnSpPr>
            <p:spPr>
              <a:xfrm>
                <a:off x="1971480" y="3097722"/>
                <a:ext cx="0" cy="121486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2" name="直接连接符 112">
                <a:extLst>
                  <a:ext uri="{FF2B5EF4-FFF2-40B4-BE49-F238E27FC236}">
                    <a16:creationId xmlns:a16="http://schemas.microsoft.com/office/drawing/2014/main" id="{A02F40FC-73CC-0CBB-F8B8-468F285D4256}"/>
                  </a:ext>
                </a:extLst>
              </p:cNvPr>
              <p:cNvCxnSpPr/>
              <p:nvPr/>
            </p:nvCxnSpPr>
            <p:spPr>
              <a:xfrm>
                <a:off x="1686119" y="2800310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3" name="直接连接符 115">
                <a:extLst>
                  <a:ext uri="{FF2B5EF4-FFF2-40B4-BE49-F238E27FC236}">
                    <a16:creationId xmlns:a16="http://schemas.microsoft.com/office/drawing/2014/main" id="{E2DAFA4F-A51C-5D5C-DAE1-E1113DFF982D}"/>
                  </a:ext>
                </a:extLst>
              </p:cNvPr>
              <p:cNvCxnSpPr/>
              <p:nvPr/>
            </p:nvCxnSpPr>
            <p:spPr>
              <a:xfrm flipH="1">
                <a:off x="1910032" y="2804217"/>
                <a:ext cx="65344" cy="147077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4" name="直接连接符 116">
                <a:extLst>
                  <a:ext uri="{FF2B5EF4-FFF2-40B4-BE49-F238E27FC236}">
                    <a16:creationId xmlns:a16="http://schemas.microsoft.com/office/drawing/2014/main" id="{2EC8A35A-FC4A-CD52-F757-891792AEE056}"/>
                  </a:ext>
                </a:extLst>
              </p:cNvPr>
              <p:cNvCxnSpPr/>
              <p:nvPr/>
            </p:nvCxnSpPr>
            <p:spPr>
              <a:xfrm>
                <a:off x="1968366" y="2796062"/>
                <a:ext cx="86053" cy="146790"/>
              </a:xfrm>
              <a:prstGeom prst="line">
                <a:avLst/>
              </a:prstGeom>
              <a:grpFill/>
              <a:ln w="1905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5" name="Rectangle 354">
                <a:extLst>
                  <a:ext uri="{FF2B5EF4-FFF2-40B4-BE49-F238E27FC236}">
                    <a16:creationId xmlns:a16="http://schemas.microsoft.com/office/drawing/2014/main" id="{CCC49692-BC2E-6332-3BAA-59520CB5C24C}"/>
                  </a:ext>
                </a:extLst>
              </p:cNvPr>
              <p:cNvSpPr/>
              <p:nvPr/>
            </p:nvSpPr>
            <p:spPr>
              <a:xfrm>
                <a:off x="2729872" y="3741657"/>
                <a:ext cx="6539935" cy="45718"/>
              </a:xfrm>
              <a:prstGeom prst="rect">
                <a:avLst/>
              </a:prstGeom>
              <a:grpFill/>
              <a:ln w="12700" cap="flat" cmpd="sng" algn="ctr">
                <a:solidFill>
                  <a:srgbClr val="CB601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514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endParaRPr>
              </a:p>
            </p:txBody>
          </p:sp>
        </p:grp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409BDC42-1100-B39C-FA9E-942D8C4D2FA2}"/>
                </a:ext>
              </a:extLst>
            </p:cNvPr>
            <p:cNvSpPr txBox="1"/>
            <p:nvPr/>
          </p:nvSpPr>
          <p:spPr>
            <a:xfrm>
              <a:off x="1161597" y="4165222"/>
              <a:ext cx="1139628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1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st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宋体" pitchFamily="2" charset="-122"/>
                  <a:cs typeface="Calibri"/>
                  <a:sym typeface="Calibri"/>
                </a:rPr>
                <a:t>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幼圆"/>
                  <a:cs typeface="Calibri"/>
                  <a:sym typeface="Calibri"/>
                </a:rPr>
                <a:t>Generation</a:t>
              </a:r>
            </a:p>
          </p:txBody>
        </p:sp>
        <p:pic>
          <p:nvPicPr>
            <p:cNvPr id="305" name="图片 36">
              <a:extLst>
                <a:ext uri="{FF2B5EF4-FFF2-40B4-BE49-F238E27FC236}">
                  <a16:creationId xmlns:a16="http://schemas.microsoft.com/office/drawing/2014/main" id="{C63DF6D4-0ED9-2531-6243-67A1F86FB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2544" y="4161346"/>
              <a:ext cx="329605" cy="26885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6" name="TextBox 375">
            <a:extLst>
              <a:ext uri="{FF2B5EF4-FFF2-40B4-BE49-F238E27FC236}">
                <a16:creationId xmlns:a16="http://schemas.microsoft.com/office/drawing/2014/main" id="{3B539AC0-750E-06BA-FC36-CC43B53E0F27}"/>
              </a:ext>
            </a:extLst>
          </p:cNvPr>
          <p:cNvSpPr txBox="1"/>
          <p:nvPr/>
        </p:nvSpPr>
        <p:spPr>
          <a:xfrm>
            <a:off x="4931486" y="2700590"/>
            <a:ext cx="1298196" cy="565668"/>
          </a:xfrm>
          <a:prstGeom prst="rect">
            <a:avLst/>
          </a:prstGeom>
          <a:solidFill>
            <a:srgbClr val="0070C0"/>
          </a:solidFill>
          <a:ln>
            <a:solidFill>
              <a:srgbClr val="1B365D">
                <a:lumMod val="60000"/>
                <a:lumOff val="4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幼圆"/>
                <a:cs typeface="Calibri"/>
                <a:sym typeface="Calibri"/>
              </a:rPr>
              <a:t>2024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幼圆"/>
                <a:cs typeface="Calibri"/>
                <a:sym typeface="Calibri"/>
              </a:rPr>
              <a:t>Generation 2 FLNG with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CO</a:t>
            </a:r>
            <a:r>
              <a:rPr kumimoji="0" lang="en-GB" altLang="zh-CN" sz="788" b="0" i="0" u="none" strike="noStrike" kern="1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2</a:t>
            </a: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 emissions &lt; 0.2 t/t</a:t>
            </a:r>
            <a:endParaRPr kumimoji="0" lang="zh-CN" altLang="zh-CN" sz="788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ea typeface="Yu Mincho"/>
              <a:cs typeface="Arial"/>
              <a:sym typeface="Calibri"/>
            </a:endParaRP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AB2D4A4D-77D7-E1F4-6607-7ABCC971E533}"/>
              </a:ext>
            </a:extLst>
          </p:cNvPr>
          <p:cNvSpPr txBox="1"/>
          <p:nvPr/>
        </p:nvSpPr>
        <p:spPr>
          <a:xfrm>
            <a:off x="2791919" y="3377381"/>
            <a:ext cx="1220258" cy="565668"/>
          </a:xfrm>
          <a:prstGeom prst="rect">
            <a:avLst/>
          </a:prstGeom>
          <a:solidFill>
            <a:srgbClr val="CB6015"/>
          </a:solidFill>
          <a:ln>
            <a:solidFill>
              <a:srgbClr val="CB601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幼圆"/>
                <a:cs typeface="Calibri"/>
                <a:sym typeface="Calibri"/>
              </a:rPr>
              <a:t>2022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幼圆"/>
                <a:cs typeface="Calibri"/>
                <a:sym typeface="Calibri"/>
              </a:rPr>
              <a:t>Generation 1 FLNG with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CO</a:t>
            </a:r>
            <a:r>
              <a:rPr kumimoji="0" lang="en-GB" altLang="zh-CN" sz="788" b="0" i="0" u="none" strike="noStrike" kern="1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2</a:t>
            </a: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 emissions &lt; 0.3 t/t</a:t>
            </a:r>
            <a:endParaRPr kumimoji="0" lang="zh-CN" altLang="zh-CN" sz="788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ea typeface="Yu Mincho"/>
              <a:cs typeface="Arial"/>
              <a:sym typeface="Calibri"/>
            </a:endParaRP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7CA6D993-83BF-22EB-B260-78FE50C8A04A}"/>
              </a:ext>
            </a:extLst>
          </p:cNvPr>
          <p:cNvSpPr txBox="1"/>
          <p:nvPr/>
        </p:nvSpPr>
        <p:spPr>
          <a:xfrm>
            <a:off x="7175514" y="1614232"/>
            <a:ext cx="1505096" cy="565668"/>
          </a:xfrm>
          <a:prstGeom prst="rect">
            <a:avLst/>
          </a:prstGeom>
          <a:solidFill>
            <a:srgbClr val="3CDBC0">
              <a:lumMod val="50000"/>
            </a:srgbClr>
          </a:solidFill>
          <a:ln>
            <a:solidFill>
              <a:srgbClr val="3CDBC0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幼圆"/>
                <a:cs typeface="Calibri"/>
                <a:sym typeface="Calibri"/>
              </a:rPr>
              <a:t>2030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8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A next FLNG Generation with</a:t>
            </a:r>
          </a:p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CO</a:t>
            </a:r>
            <a:r>
              <a:rPr kumimoji="0" lang="en-GB" altLang="zh-CN" sz="788" b="0" i="0" u="none" strike="noStrike" kern="1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2</a:t>
            </a:r>
            <a:r>
              <a:rPr kumimoji="0" lang="en-GB" altLang="zh-CN" sz="788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Yu Mincho"/>
                <a:cs typeface="Arial"/>
                <a:sym typeface="Calibri"/>
              </a:rPr>
              <a:t> emissions &lt; 0.1 t/t</a:t>
            </a:r>
            <a:endParaRPr kumimoji="0" lang="zh-CN" altLang="zh-CN" sz="788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ea typeface="Yu Mincho"/>
              <a:cs typeface="Arial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5088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FB92C-669C-1927-431A-258D3EF0E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/>
              <a:t>Low carbon solutions investigat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BE5F38-BD09-E549-10C5-7B23BCCC56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0169"/>
          <a:stretch/>
        </p:blipFill>
        <p:spPr>
          <a:xfrm>
            <a:off x="1475656" y="1237808"/>
            <a:ext cx="5628449" cy="325200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171703A-4BED-A7A2-F158-8262D7E1F1A8}"/>
              </a:ext>
            </a:extLst>
          </p:cNvPr>
          <p:cNvSpPr/>
          <p:nvPr/>
        </p:nvSpPr>
        <p:spPr>
          <a:xfrm>
            <a:off x="3713816" y="1059582"/>
            <a:ext cx="1512168" cy="1224136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9818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A0B74-CF00-5BCA-B7AE-B9724ED4980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52000" y="1116000"/>
            <a:ext cx="4248472" cy="3600000"/>
          </a:xfrm>
        </p:spPr>
        <p:txBody>
          <a:bodyPr>
            <a:normAutofit/>
          </a:bodyPr>
          <a:lstStyle/>
          <a:p>
            <a:pPr>
              <a:lnSpc>
                <a:spcPts val="2250"/>
              </a:lnSpc>
            </a:pPr>
            <a:r>
              <a:rPr lang="en-US" altLang="zh-CN" sz="1400" dirty="0"/>
              <a:t>Different </a:t>
            </a:r>
            <a:r>
              <a:rPr lang="en-US" sz="1400" dirty="0"/>
              <a:t>combinations of drivers for power generation and compressors were compa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FFB92C-669C-1927-431A-258D3EF0E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/>
              <a:t>Wison Generation 1 and 2 FLNG compar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AF8A8E2-9B5E-AFFD-A1CB-80E8161E72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549699"/>
              </p:ext>
            </p:extLst>
          </p:nvPr>
        </p:nvGraphicFramePr>
        <p:xfrm>
          <a:off x="221670" y="2571750"/>
          <a:ext cx="4248473" cy="1815015"/>
        </p:xfrm>
        <a:graphic>
          <a:graphicData uri="http://schemas.openxmlformats.org/drawingml/2006/table">
            <a:tbl>
              <a:tblPr firstRow="1" firstCol="1" bandRow="1"/>
              <a:tblGrid>
                <a:gridCol w="1919474">
                  <a:extLst>
                    <a:ext uri="{9D8B030D-6E8A-4147-A177-3AD203B41FA5}">
                      <a16:colId xmlns:a16="http://schemas.microsoft.com/office/drawing/2014/main" val="3990174157"/>
                    </a:ext>
                  </a:extLst>
                </a:gridCol>
                <a:gridCol w="1222827">
                  <a:extLst>
                    <a:ext uri="{9D8B030D-6E8A-4147-A177-3AD203B41FA5}">
                      <a16:colId xmlns:a16="http://schemas.microsoft.com/office/drawing/2014/main" val="954966371"/>
                    </a:ext>
                  </a:extLst>
                </a:gridCol>
                <a:gridCol w="1106172">
                  <a:extLst>
                    <a:ext uri="{9D8B030D-6E8A-4147-A177-3AD203B41FA5}">
                      <a16:colId xmlns:a16="http://schemas.microsoft.com/office/drawing/2014/main" val="3599070875"/>
                    </a:ext>
                  </a:extLst>
                </a:gridCol>
              </a:tblGrid>
              <a:tr h="3677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river Options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(Power + Compression)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eneration 1      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(2.4 Mtpa)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eneration 2      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(3.6 Mtpa)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639168"/>
                  </a:ext>
                </a:extLst>
              </a:tr>
              <a:tr h="40299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Refrigerant Compressor Drivers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 x LM6000PF+ 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with WHR)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 x LM9000 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with </a:t>
                      </a:r>
                      <a:r>
                        <a:rPr lang="en-GB" sz="900" kern="100" dirty="0">
                          <a:solidFill>
                            <a:schemeClr val="accent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CGT</a:t>
                      </a: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4331828"/>
                  </a:ext>
                </a:extLst>
              </a:tr>
              <a:tr h="3206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altLang="zh-CN" sz="900" kern="100" dirty="0">
                          <a:solidFill>
                            <a:schemeClr val="accent1"/>
                          </a:solidFill>
                          <a:effectLst/>
                          <a:latin typeface="Helvetica Neue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Inlet Air Chilling</a:t>
                      </a:r>
                      <a:endParaRPr lang="zh-CN" sz="900" kern="100" dirty="0">
                        <a:solidFill>
                          <a:schemeClr val="accent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altLang="zh-CN" sz="900" kern="100" dirty="0">
                          <a:solidFill>
                            <a:schemeClr val="tx1"/>
                          </a:solidFill>
                          <a:effectLst/>
                          <a:latin typeface="Helvetica Neue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None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n MR Comp          GT Drive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7910"/>
                  </a:ext>
                </a:extLst>
              </a:tr>
              <a:tr h="3206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NGL Recovery Booster Compression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LM2500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accent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E-drive</a:t>
                      </a:r>
                      <a:endParaRPr lang="zh-CN" altLang="en-US" sz="900" kern="100" dirty="0">
                        <a:solidFill>
                          <a:schemeClr val="accent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494209"/>
                  </a:ext>
                </a:extLst>
              </a:tr>
              <a:tr h="40299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ower Generation Drivers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olar Titan 130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with WHR)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DF Engines</a:t>
                      </a:r>
                      <a:endParaRPr lang="zh-CN" altLang="en-US" sz="900" kern="100" dirty="0">
                        <a:solidFill>
                          <a:schemeClr val="tx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lus </a:t>
                      </a:r>
                      <a:r>
                        <a:rPr lang="en-GB" sz="900" kern="100" dirty="0">
                          <a:solidFill>
                            <a:schemeClr val="accent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TG</a:t>
                      </a:r>
                      <a:endParaRPr lang="zh-CN" altLang="en-US" sz="900" kern="100" dirty="0">
                        <a:solidFill>
                          <a:schemeClr val="accent1"/>
                        </a:solidFill>
                        <a:effectLst/>
                        <a:latin typeface="Helvetica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500564"/>
                  </a:ext>
                </a:extLst>
              </a:tr>
            </a:tbl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9A0B74-CF00-5BCA-B7AE-B9724ED49802}"/>
              </a:ext>
            </a:extLst>
          </p:cNvPr>
          <p:cNvSpPr txBox="1">
            <a:spLocks/>
          </p:cNvSpPr>
          <p:nvPr/>
        </p:nvSpPr>
        <p:spPr>
          <a:xfrm>
            <a:off x="4662000" y="1131590"/>
            <a:ext cx="4103976" cy="360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00025" indent="-200025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n"/>
              <a:tabLst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06400" indent="-204788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u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83200" indent="-179388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p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3960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ea"/>
              <a:buAutoNum type="ea1JpnChsDbPeriod"/>
              <a:tabLst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06800" indent="-2736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583200" indent="-25920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lphaLcParenR"/>
              <a:tabLst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fontAlgn="auto">
              <a:lnSpc>
                <a:spcPts val="2250"/>
              </a:lnSpc>
              <a:spcAft>
                <a:spcPts val="0"/>
              </a:spcAft>
              <a:defRPr/>
            </a:pPr>
            <a:r>
              <a:rPr lang="en-US" sz="1400" dirty="0"/>
              <a:t>Difference in CO2 emission</a:t>
            </a:r>
          </a:p>
          <a:p>
            <a:pPr marL="458782" lvl="1" indent="-257175" defTabSz="914378" fontAlgn="auto">
              <a:spcAft>
                <a:spcPts val="0"/>
              </a:spcAft>
              <a:buClr>
                <a:srgbClr val="FF0000"/>
              </a:buClr>
              <a:defRPr/>
            </a:pP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Exclud</a:t>
            </a: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ing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 Feed Gas CO2</a:t>
            </a:r>
          </a:p>
          <a:p>
            <a:pPr marL="458782" lvl="1" indent="-257175" defTabSz="914378" fontAlgn="auto">
              <a:spcAft>
                <a:spcPts val="0"/>
              </a:spcAft>
              <a:buClr>
                <a:srgbClr val="FF0000"/>
              </a:buClr>
              <a:defRPr/>
            </a:pPr>
            <a:r>
              <a:rPr lang="en-US" altLang="zh-CN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I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ource Sans 3" panose="020B0303030403020204" pitchFamily="34" charset="0"/>
              </a:rPr>
              <a:t>ncludes only the different combinations of Refrigeration and Power Generation emitters</a:t>
            </a:r>
            <a:endParaRPr lang="en-GB" sz="1300" dirty="0">
              <a:solidFill>
                <a:schemeClr val="bg1">
                  <a:lumMod val="50000"/>
                </a:schemeClr>
              </a:solidFill>
              <a:latin typeface="Source Sans 3" panose="020B0303030403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39CB98A-2971-8F69-F027-F76FAC888A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915621"/>
              </p:ext>
            </p:extLst>
          </p:nvPr>
        </p:nvGraphicFramePr>
        <p:xfrm>
          <a:off x="4665310" y="2571750"/>
          <a:ext cx="4320480" cy="2089989"/>
        </p:xfrm>
        <a:graphic>
          <a:graphicData uri="http://schemas.openxmlformats.org/drawingml/2006/table">
            <a:tbl>
              <a:tblPr firstRow="1" firstCol="1" bandRow="1"/>
              <a:tblGrid>
                <a:gridCol w="2471827">
                  <a:extLst>
                    <a:ext uri="{9D8B030D-6E8A-4147-A177-3AD203B41FA5}">
                      <a16:colId xmlns:a16="http://schemas.microsoft.com/office/drawing/2014/main" val="2286525097"/>
                    </a:ext>
                  </a:extLst>
                </a:gridCol>
                <a:gridCol w="958392">
                  <a:extLst>
                    <a:ext uri="{9D8B030D-6E8A-4147-A177-3AD203B41FA5}">
                      <a16:colId xmlns:a16="http://schemas.microsoft.com/office/drawing/2014/main" val="1194312481"/>
                    </a:ext>
                  </a:extLst>
                </a:gridCol>
                <a:gridCol w="890261">
                  <a:extLst>
                    <a:ext uri="{9D8B030D-6E8A-4147-A177-3AD203B41FA5}">
                      <a16:colId xmlns:a16="http://schemas.microsoft.com/office/drawing/2014/main" val="1437799558"/>
                    </a:ext>
                  </a:extLst>
                </a:gridCol>
              </a:tblGrid>
              <a:tr h="35796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O</a:t>
                      </a:r>
                      <a:r>
                        <a:rPr lang="en-GB" sz="900" b="1" kern="100" baseline="-250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GB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Emissions (t/hr)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eneration 1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altLang="zh-CN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.4 MTPA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eneration 2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altLang="zh-CN" sz="900" b="1" kern="100" dirty="0">
                          <a:solidFill>
                            <a:srgbClr val="FFFFFF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.6 MTPA</a:t>
                      </a:r>
                      <a:endParaRPr lang="zh-CN" sz="900" kern="100" dirty="0">
                        <a:solidFill>
                          <a:srgbClr val="FFFFFF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902419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O</a:t>
                      </a:r>
                      <a:r>
                        <a:rPr lang="en-GB" sz="900" kern="100" baseline="-250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from Feed Gas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Excluded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Excluded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73209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ther Fuel Gas Users (incinerator, Flare)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-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-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6778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Refrigeration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6.3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9.4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149144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ooster Compressor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4.7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altLang="zh-CN" sz="900" kern="100" dirty="0">
                          <a:solidFill>
                            <a:schemeClr val="tx1"/>
                          </a:solidFill>
                          <a:effectLst/>
                          <a:latin typeface="Helvetica Neue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-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9114186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ower Generation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7.3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6.7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7778495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Total CO</a:t>
                      </a:r>
                      <a:r>
                        <a:rPr lang="en-GB" sz="900" kern="100" baseline="-250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8.3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76.1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136191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LNG Production (t/hr)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02.5</a:t>
                      </a:r>
                      <a:endParaRPr lang="zh-CN" sz="900" kern="10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53.3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650483"/>
                  </a:ext>
                </a:extLst>
              </a:tr>
              <a:tr h="21650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t CO</a:t>
                      </a:r>
                      <a:r>
                        <a:rPr lang="en-GB" sz="900" kern="100" baseline="-250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GB" sz="900" kern="100" dirty="0">
                          <a:solidFill>
                            <a:schemeClr val="tx1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/ t LNG</a:t>
                      </a:r>
                      <a:endParaRPr lang="zh-CN" sz="900" kern="100" dirty="0">
                        <a:solidFill>
                          <a:schemeClr val="tx1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>
                          <a:solidFill>
                            <a:srgbClr val="FF0000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0.259</a:t>
                      </a:r>
                      <a:endParaRPr lang="zh-CN" sz="900" kern="100">
                        <a:solidFill>
                          <a:srgbClr val="FF0000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900" kern="100" dirty="0">
                          <a:solidFill>
                            <a:srgbClr val="FF0000"/>
                          </a:solidFill>
                          <a:effectLst/>
                          <a:latin typeface="Helvetica" panose="020B060402020202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0.168</a:t>
                      </a:r>
                      <a:endParaRPr lang="zh-CN" sz="900" kern="100" dirty="0">
                        <a:solidFill>
                          <a:srgbClr val="FF0000"/>
                        </a:solidFill>
                        <a:effectLst/>
                        <a:latin typeface="Helvetica Neue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9473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552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A0B74-CF00-5BCA-B7AE-B9724ED4980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Significant reduction in emissions intensity of around </a:t>
            </a:r>
            <a:r>
              <a:rPr lang="en-US" sz="1800" dirty="0">
                <a:solidFill>
                  <a:srgbClr val="FF0000"/>
                </a:solidFill>
              </a:rPr>
              <a:t>35%</a:t>
            </a:r>
            <a:r>
              <a:rPr lang="en-US" sz="1800" dirty="0">
                <a:solidFill>
                  <a:schemeClr val="tx1"/>
                </a:solidFill>
              </a:rPr>
              <a:t>, with proven technologies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Main reduction from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election of </a:t>
            </a:r>
            <a:r>
              <a:rPr lang="en-US" sz="1600" dirty="0">
                <a:solidFill>
                  <a:schemeClr val="accent1"/>
                </a:solidFill>
              </a:rPr>
              <a:t>high efficiency GTs </a:t>
            </a:r>
            <a:r>
              <a:rPr lang="en-US" sz="1600" dirty="0">
                <a:solidFill>
                  <a:schemeClr val="tx1"/>
                </a:solidFill>
              </a:rPr>
              <a:t>coupled with </a:t>
            </a:r>
            <a:r>
              <a:rPr lang="en-US" sz="1600" dirty="0">
                <a:solidFill>
                  <a:schemeClr val="accent1"/>
                </a:solidFill>
              </a:rPr>
              <a:t>IAC </a:t>
            </a:r>
            <a:r>
              <a:rPr lang="en-US" sz="1600" dirty="0">
                <a:solidFill>
                  <a:schemeClr val="tx1"/>
                </a:solidFill>
              </a:rPr>
              <a:t>(inlet air chilling)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election of CCGT with the addition of a 16 MW </a:t>
            </a:r>
            <a:r>
              <a:rPr lang="en-US" sz="1600" dirty="0">
                <a:solidFill>
                  <a:schemeClr val="accent1"/>
                </a:solidFill>
              </a:rPr>
              <a:t>STG for power recovery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election of </a:t>
            </a:r>
            <a:r>
              <a:rPr lang="en-US" sz="1600" dirty="0">
                <a:solidFill>
                  <a:schemeClr val="accent1"/>
                </a:solidFill>
              </a:rPr>
              <a:t>high-efficiency DF engines </a:t>
            </a:r>
            <a:r>
              <a:rPr lang="en-US" sz="1600" dirty="0">
                <a:solidFill>
                  <a:schemeClr val="tx1"/>
                </a:solidFill>
              </a:rPr>
              <a:t>(located within the hull machinery space)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FFB92C-669C-1927-431A-258D3EF0E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/>
              <a:t>Wison Generation 2 FLNG - highlights</a:t>
            </a:r>
          </a:p>
        </p:txBody>
      </p:sp>
    </p:spTree>
    <p:extLst>
      <p:ext uri="{BB962C8B-B14F-4D97-AF65-F5344CB8AC3E}">
        <p14:creationId xmlns:p14="http://schemas.microsoft.com/office/powerpoint/2010/main" val="363507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4A27D5-B866-46F5-A2DD-11AA3069E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A toy ship with many parts&#10;&#10;Description automatically generated with medium confidence">
            <a:extLst>
              <a:ext uri="{FF2B5EF4-FFF2-40B4-BE49-F238E27FC236}">
                <a16:creationId xmlns:a16="http://schemas.microsoft.com/office/drawing/2014/main" id="{36179E37-76D0-BF2B-801C-E7DE8D2BE6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877"/>
          <a:stretch/>
        </p:blipFill>
        <p:spPr>
          <a:xfrm>
            <a:off x="4568986" y="2427734"/>
            <a:ext cx="4564958" cy="2879627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9625C8B-8118-0099-2F83-18876CBEA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625C8B-8118-0099-2F83-18876CBE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标题 7">
            <a:extLst>
              <a:ext uri="{FF2B5EF4-FFF2-40B4-BE49-F238E27FC236}">
                <a16:creationId xmlns:a16="http://schemas.microsoft.com/office/drawing/2014/main" id="{8D60C381-AD0F-20C1-B298-5CDFCA61D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Wison Generation 2 FLNG – GT driven MR Compressors</a:t>
            </a:r>
            <a:endParaRPr lang="zh-CN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B0D5A4-2B73-F902-76C3-99046FE8983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79388" y="1216427"/>
            <a:ext cx="9073132" cy="3281362"/>
          </a:xfrm>
        </p:spPr>
        <p:txBody>
          <a:bodyPr>
            <a:normAutofit/>
          </a:bodyPr>
          <a:lstStyle/>
          <a:p>
            <a:r>
              <a:rPr lang="en-US" altLang="zh-CN" sz="1400" dirty="0"/>
              <a:t>For more stringent allowable environments standards, several combinations of drivers for power generation and compressors were compared. </a:t>
            </a:r>
          </a:p>
          <a:p>
            <a:r>
              <a:rPr lang="en-US" sz="1400" dirty="0"/>
              <a:t>Examples of equipment configuration changes that improve the carbon intensity to &lt;0.2 tCO2e/</a:t>
            </a:r>
            <a:r>
              <a:rPr lang="en-US" sz="1400" dirty="0" err="1"/>
              <a:t>tLNG</a:t>
            </a:r>
            <a:r>
              <a:rPr lang="en-US" sz="1400" dirty="0"/>
              <a:t>:</a:t>
            </a:r>
          </a:p>
          <a:p>
            <a:r>
              <a:rPr lang="en-US" sz="1400" dirty="0"/>
              <a:t>In terms of TRL, all the equipment selected for Generation 2 is mature and suitable for use with tolerable levels of risk.</a:t>
            </a:r>
          </a:p>
          <a:p>
            <a:pPr>
              <a:lnSpc>
                <a:spcPts val="2250"/>
              </a:lnSpc>
            </a:pPr>
            <a:endParaRPr lang="en-US" sz="1500" dirty="0"/>
          </a:p>
          <a:p>
            <a:pPr>
              <a:lnSpc>
                <a:spcPts val="2250"/>
              </a:lnSpc>
            </a:pPr>
            <a:endParaRPr lang="en-US" altLang="zh-CN" sz="1500" dirty="0"/>
          </a:p>
          <a:p>
            <a:pPr>
              <a:lnSpc>
                <a:spcPts val="2250"/>
              </a:lnSpc>
            </a:pPr>
            <a:endParaRPr lang="en-US" altLang="zh-CN" sz="1425" dirty="0"/>
          </a:p>
          <a:p>
            <a:pPr>
              <a:lnSpc>
                <a:spcPts val="2250"/>
              </a:lnSpc>
            </a:pPr>
            <a:endParaRPr lang="en-US" sz="1425" dirty="0"/>
          </a:p>
          <a:p>
            <a:pPr>
              <a:lnSpc>
                <a:spcPts val="2250"/>
              </a:lnSpc>
            </a:pPr>
            <a:endParaRPr lang="en-US" sz="1425" dirty="0"/>
          </a:p>
        </p:txBody>
      </p:sp>
      <p:graphicFrame>
        <p:nvGraphicFramePr>
          <p:cNvPr id="5" name="Table 2">
            <a:extLst>
              <a:ext uri="{FF2B5EF4-FFF2-40B4-BE49-F238E27FC236}">
                <a16:creationId xmlns:a16="http://schemas.microsoft.com/office/drawing/2014/main" id="{6E2974E9-2F30-603D-3AB6-67212B006D99}"/>
              </a:ext>
            </a:extLst>
          </p:cNvPr>
          <p:cNvGraphicFramePr>
            <a:graphicFrameLocks noGrp="1"/>
          </p:cNvGraphicFramePr>
          <p:nvPr/>
        </p:nvGraphicFramePr>
        <p:xfrm>
          <a:off x="366479" y="2996263"/>
          <a:ext cx="4605715" cy="1958340"/>
        </p:xfrm>
        <a:graphic>
          <a:graphicData uri="http://schemas.openxmlformats.org/drawingml/2006/table">
            <a:tbl>
              <a:tblPr firstRow="1" firstCol="1" bandRow="1"/>
              <a:tblGrid>
                <a:gridCol w="2080877">
                  <a:extLst>
                    <a:ext uri="{9D8B030D-6E8A-4147-A177-3AD203B41FA5}">
                      <a16:colId xmlns:a16="http://schemas.microsoft.com/office/drawing/2014/main" val="3990174157"/>
                    </a:ext>
                  </a:extLst>
                </a:gridCol>
                <a:gridCol w="1325651">
                  <a:extLst>
                    <a:ext uri="{9D8B030D-6E8A-4147-A177-3AD203B41FA5}">
                      <a16:colId xmlns:a16="http://schemas.microsoft.com/office/drawing/2014/main" val="954966371"/>
                    </a:ext>
                  </a:extLst>
                </a:gridCol>
                <a:gridCol w="1199187">
                  <a:extLst>
                    <a:ext uri="{9D8B030D-6E8A-4147-A177-3AD203B41FA5}">
                      <a16:colId xmlns:a16="http://schemas.microsoft.com/office/drawing/2014/main" val="3599070875"/>
                    </a:ext>
                  </a:extLst>
                </a:gridCol>
              </a:tblGrid>
              <a:tr h="348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sz="1100" b="1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Driver Options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sz="1100" b="1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Power + Compression)</a:t>
                      </a:r>
                      <a:endParaRPr lang="zh-CN" altLang="en-US" sz="1100" b="1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sz="1100" b="1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Generation 1      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altLang="zh-CN" sz="1100" b="1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2.4 Mtpa)</a:t>
                      </a:r>
                      <a:endParaRPr lang="zh-CN" altLang="en-US" sz="1100" b="1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sz="1100" b="1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Generation 2      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sz="1100" b="1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3.6 Mtpa)</a:t>
                      </a:r>
                      <a:endParaRPr lang="zh-CN" altLang="en-US" sz="1100" b="1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639168"/>
                  </a:ext>
                </a:extLst>
              </a:tr>
              <a:tr h="348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Refrigerant Compressor Drivers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2 x LM6000PF+ 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with WHR)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2 x LM9000 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with CCGT)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4331828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altLang="zh-CN" sz="1100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IAC</a:t>
                      </a:r>
                      <a:endParaRPr lang="zh-CN" altLang="en-US" sz="1100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altLang="zh-CN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None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US" altLang="zh-CN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On MR Compressor and GT Drive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7910"/>
                  </a:ext>
                </a:extLst>
              </a:tr>
              <a:tr h="19734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NGL Recovery Booster Compression</a:t>
                      </a:r>
                      <a:endParaRPr lang="zh-CN" altLang="en-US" sz="1100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LM2500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Motor Drive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494209"/>
                  </a:ext>
                </a:extLst>
              </a:tr>
              <a:tr h="348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Power Generation Drivers</a:t>
                      </a:r>
                      <a:endParaRPr lang="zh-CN" altLang="en-US" sz="1100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Solar Titan 130</a:t>
                      </a:r>
                      <a:endParaRPr lang="zh-CN" altLang="en-US" sz="1100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(with WHR)</a:t>
                      </a:r>
                      <a:endParaRPr lang="zh-CN" altLang="en-US" sz="1100" kern="1200" spc="0" baseline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DF Engines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300"/>
                        </a:spcAft>
                      </a:pPr>
                      <a:r>
                        <a:rPr lang="en-GB" sz="1100" kern="1200" spc="0" baseline="0" dirty="0">
                          <a:solidFill>
                            <a:schemeClr val="tx1"/>
                          </a:solidFill>
                          <a:latin typeface="Source Sans 3" panose="020B0303030403020204" pitchFamily="34" charset="0"/>
                          <a:ea typeface="+mn-ea"/>
                          <a:cs typeface="+mn-cs"/>
                        </a:rPr>
                        <a:t>plus STG</a:t>
                      </a:r>
                      <a:endParaRPr lang="zh-CN" altLang="en-US" sz="1100" kern="1200" spc="0" baseline="0" dirty="0">
                        <a:solidFill>
                          <a:schemeClr val="tx1"/>
                        </a:solidFill>
                        <a:latin typeface="Source Sans 3" panose="020B030303040302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50056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57AEC9A-027C-A8FD-052D-E099207ABCBF}"/>
              </a:ext>
            </a:extLst>
          </p:cNvPr>
          <p:cNvSpPr txBox="1"/>
          <p:nvPr/>
        </p:nvSpPr>
        <p:spPr>
          <a:xfrm>
            <a:off x="232304" y="4948767"/>
            <a:ext cx="52861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800" i="1" dirty="0"/>
              <a:t>In terms of TRL, all the equipment selected for Generation 2 is mature and suitable for use with tolerable levels of risk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026829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标题页和结尾页TitleSlide&amp;EndSlide">
  <a:themeElements>
    <a:clrScheme name="惠生颜色2019WisonColors">
      <a:dk1>
        <a:srgbClr val="000000"/>
      </a:dk1>
      <a:lt1>
        <a:srgbClr val="FFFFFF"/>
      </a:lt1>
      <a:dk2>
        <a:srgbClr val="1B365D"/>
      </a:dk2>
      <a:lt2>
        <a:srgbClr val="49B1FF"/>
      </a:lt2>
      <a:accent1>
        <a:srgbClr val="FF0000"/>
      </a:accent1>
      <a:accent2>
        <a:srgbClr val="DC582A"/>
      </a:accent2>
      <a:accent3>
        <a:srgbClr val="FFA300"/>
      </a:accent3>
      <a:accent4>
        <a:srgbClr val="3CDBC0"/>
      </a:accent4>
      <a:accent5>
        <a:srgbClr val="0076CF"/>
      </a:accent5>
      <a:accent6>
        <a:srgbClr val="6D2077"/>
      </a:accent6>
      <a:hlink>
        <a:srgbClr val="003594"/>
      </a:hlink>
      <a:folHlink>
        <a:srgbClr val="AC145A"/>
      </a:folHlink>
    </a:clrScheme>
    <a:fontScheme name="惠生字体WisonFonts(幼圆YouYuan &amp; Calibri)">
      <a:majorFont>
        <a:latin typeface="Calibri"/>
        <a:ea typeface="幼圆"/>
        <a:cs typeface=""/>
      </a:majorFont>
      <a:minorFont>
        <a:latin typeface="Calibri"/>
        <a:ea typeface="幼圆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3" id="{830C663C-F5C5-4E81-ACAF-C78103B7936E}" vid="{0F96FE36-3650-4A73-8350-76FC856F823F}"/>
    </a:ext>
  </a:extLst>
</a:theme>
</file>

<file path=ppt/theme/theme2.xml><?xml version="1.0" encoding="utf-8"?>
<a:theme xmlns:a="http://schemas.openxmlformats.org/drawingml/2006/main" name="内容页BodySlides">
  <a:themeElements>
    <a:clrScheme name="惠生颜色2019WisonColors">
      <a:dk1>
        <a:srgbClr val="000000"/>
      </a:dk1>
      <a:lt1>
        <a:srgbClr val="FFFFFF"/>
      </a:lt1>
      <a:dk2>
        <a:srgbClr val="1B365D"/>
      </a:dk2>
      <a:lt2>
        <a:srgbClr val="49B1FF"/>
      </a:lt2>
      <a:accent1>
        <a:srgbClr val="FF0000"/>
      </a:accent1>
      <a:accent2>
        <a:srgbClr val="DC582A"/>
      </a:accent2>
      <a:accent3>
        <a:srgbClr val="FFA300"/>
      </a:accent3>
      <a:accent4>
        <a:srgbClr val="3CDBC0"/>
      </a:accent4>
      <a:accent5>
        <a:srgbClr val="0076CF"/>
      </a:accent5>
      <a:accent6>
        <a:srgbClr val="6D2077"/>
      </a:accent6>
      <a:hlink>
        <a:srgbClr val="003594"/>
      </a:hlink>
      <a:folHlink>
        <a:srgbClr val="AC145A"/>
      </a:folHlink>
    </a:clrScheme>
    <a:fontScheme name="惠生字体(幼圆YouYuan&amp;Calibri)">
      <a:majorFont>
        <a:latin typeface="Calibri"/>
        <a:ea typeface="幼圆"/>
        <a:cs typeface=""/>
      </a:majorFont>
      <a:minorFont>
        <a:latin typeface="Calibri"/>
        <a:ea typeface="幼圆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3" id="{830C663C-F5C5-4E81-ACAF-C78103B7936E}" vid="{71399023-557D-46BF-8A6E-1C7FEFCE2D97}"/>
    </a:ext>
  </a:extLst>
</a:theme>
</file>

<file path=ppt/theme/theme3.xml><?xml version="1.0" encoding="utf-8"?>
<a:theme xmlns:a="http://schemas.openxmlformats.org/drawingml/2006/main" name="欢迎页和节标题页WelcomeSlide&amp;SectionTitleSlides">
  <a:themeElements>
    <a:clrScheme name="惠生颜色2019WisonColors">
      <a:dk1>
        <a:srgbClr val="000000"/>
      </a:dk1>
      <a:lt1>
        <a:srgbClr val="FFFFFF"/>
      </a:lt1>
      <a:dk2>
        <a:srgbClr val="1B365D"/>
      </a:dk2>
      <a:lt2>
        <a:srgbClr val="49B1FF"/>
      </a:lt2>
      <a:accent1>
        <a:srgbClr val="FF0000"/>
      </a:accent1>
      <a:accent2>
        <a:srgbClr val="DC582A"/>
      </a:accent2>
      <a:accent3>
        <a:srgbClr val="FFA300"/>
      </a:accent3>
      <a:accent4>
        <a:srgbClr val="3CDBC0"/>
      </a:accent4>
      <a:accent5>
        <a:srgbClr val="0076CF"/>
      </a:accent5>
      <a:accent6>
        <a:srgbClr val="6D2077"/>
      </a:accent6>
      <a:hlink>
        <a:srgbClr val="003594"/>
      </a:hlink>
      <a:folHlink>
        <a:srgbClr val="AC145A"/>
      </a:folHlink>
    </a:clrScheme>
    <a:fontScheme name="惠生字体(幼圆YouYuan&amp;Calibri)">
      <a:majorFont>
        <a:latin typeface="Calibri"/>
        <a:ea typeface="幼圆"/>
        <a:cs typeface=""/>
      </a:majorFont>
      <a:minorFont>
        <a:latin typeface="Calibri"/>
        <a:ea typeface="幼圆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3" id="{830C663C-F5C5-4E81-ACAF-C78103B7936E}" vid="{CF4EBF92-DD60-4191-9A53-0EF9227D6560}"/>
    </a:ext>
  </a:extLst>
</a:theme>
</file>

<file path=ppt/theme/theme4.xml><?xml version="1.0" encoding="utf-8"?>
<a:theme xmlns:a="http://schemas.openxmlformats.org/drawingml/2006/main" name="1_标题页和结尾页TitleSlide&amp;EndSlide">
  <a:themeElements>
    <a:clrScheme name="惠生颜色2019WisonColors">
      <a:dk1>
        <a:srgbClr val="000000"/>
      </a:dk1>
      <a:lt1>
        <a:srgbClr val="FFFFFF"/>
      </a:lt1>
      <a:dk2>
        <a:srgbClr val="1B365D"/>
      </a:dk2>
      <a:lt2>
        <a:srgbClr val="49B1FF"/>
      </a:lt2>
      <a:accent1>
        <a:srgbClr val="FF0000"/>
      </a:accent1>
      <a:accent2>
        <a:srgbClr val="DC582A"/>
      </a:accent2>
      <a:accent3>
        <a:srgbClr val="FFA300"/>
      </a:accent3>
      <a:accent4>
        <a:srgbClr val="3CDBC0"/>
      </a:accent4>
      <a:accent5>
        <a:srgbClr val="0076CF"/>
      </a:accent5>
      <a:accent6>
        <a:srgbClr val="6D2077"/>
      </a:accent6>
      <a:hlink>
        <a:srgbClr val="003594"/>
      </a:hlink>
      <a:folHlink>
        <a:srgbClr val="AC145A"/>
      </a:folHlink>
    </a:clrScheme>
    <a:fontScheme name="惠生字体WisonFonts(幼圆YouYuan &amp; Calibri)">
      <a:majorFont>
        <a:latin typeface="Calibri"/>
        <a:ea typeface="幼圆"/>
        <a:cs typeface=""/>
      </a:majorFont>
      <a:minorFont>
        <a:latin typeface="Calibri"/>
        <a:ea typeface="幼圆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内容页BodySlides">
  <a:themeElements>
    <a:clrScheme name="惠生颜色2019WisonColors">
      <a:dk1>
        <a:srgbClr val="000000"/>
      </a:dk1>
      <a:lt1>
        <a:srgbClr val="FFFFFF"/>
      </a:lt1>
      <a:dk2>
        <a:srgbClr val="1B365D"/>
      </a:dk2>
      <a:lt2>
        <a:srgbClr val="49B1FF"/>
      </a:lt2>
      <a:accent1>
        <a:srgbClr val="FF0000"/>
      </a:accent1>
      <a:accent2>
        <a:srgbClr val="DC582A"/>
      </a:accent2>
      <a:accent3>
        <a:srgbClr val="FFA300"/>
      </a:accent3>
      <a:accent4>
        <a:srgbClr val="3CDBC0"/>
      </a:accent4>
      <a:accent5>
        <a:srgbClr val="0076CF"/>
      </a:accent5>
      <a:accent6>
        <a:srgbClr val="6D2077"/>
      </a:accent6>
      <a:hlink>
        <a:srgbClr val="003594"/>
      </a:hlink>
      <a:folHlink>
        <a:srgbClr val="AC145A"/>
      </a:folHlink>
    </a:clrScheme>
    <a:fontScheme name="惠生字体(幼圆YouYuan&amp;Calibri)">
      <a:majorFont>
        <a:latin typeface="Calibri"/>
        <a:ea typeface="幼圆"/>
        <a:cs typeface=""/>
      </a:majorFont>
      <a:minorFont>
        <a:latin typeface="Calibri"/>
        <a:ea typeface="幼圆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/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latin typeface="+mn-lt"/>
            <a:ea typeface="+mn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7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Baker Hughes Template 2023">
  <a:themeElements>
    <a:clrScheme name="AM25">
      <a:dk1>
        <a:srgbClr val="000000"/>
      </a:dk1>
      <a:lt1>
        <a:srgbClr val="FFFFFF"/>
      </a:lt1>
      <a:dk2>
        <a:srgbClr val="05322B"/>
      </a:dk2>
      <a:lt2>
        <a:srgbClr val="7A7A78"/>
      </a:lt2>
      <a:accent1>
        <a:srgbClr val="064037"/>
      </a:accent1>
      <a:accent2>
        <a:srgbClr val="018374"/>
      </a:accent2>
      <a:accent3>
        <a:srgbClr val="02BC94"/>
      </a:accent3>
      <a:accent4>
        <a:srgbClr val="7B6DFF"/>
      </a:accent4>
      <a:accent5>
        <a:srgbClr val="00FF7B"/>
      </a:accent5>
      <a:accent6>
        <a:srgbClr val="E8FF00"/>
      </a:accent6>
      <a:hlink>
        <a:srgbClr val="4895C8"/>
      </a:hlink>
      <a:folHlink>
        <a:srgbClr val="000000"/>
      </a:folHlink>
    </a:clrScheme>
    <a:fontScheme name="Poppins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aker Hughes Master PowerPoint Template.pptx" id="{A3798F6A-A721-4FF7-8AF4-9120AC53D9EB}" vid="{099281F6-9DFB-48DD-B5D0-BB86369A7151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E95AAA9BCEB8A44BB454FAD23BE158DD" ma:contentTypeVersion="3" ma:contentTypeDescription="新建文档。" ma:contentTypeScope="" ma:versionID="b99186698c7a0854f32d63db89b9e717">
  <xsd:schema xmlns:xsd="http://www.w3.org/2001/XMLSchema" xmlns:xs="http://www.w3.org/2001/XMLSchema" xmlns:p="http://schemas.microsoft.com/office/2006/metadata/properties" xmlns:ns2="f451e2e4-0a1a-4697-96a8-9d2660d74348" targetNamespace="http://schemas.microsoft.com/office/2006/metadata/properties" ma:root="true" ma:fieldsID="536379320c5959307ca4718774e2c71e" ns2:_="">
    <xsd:import namespace="f451e2e4-0a1a-4697-96a8-9d2660d743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51e2e4-0a1a-4697-96a8-9d2660d74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EB1F5D-5040-4CE8-83C6-6861A9AD0BE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f451e2e4-0a1a-4697-96a8-9d2660d74348"/>
    <ds:schemaRef ds:uri="http://schemas.openxmlformats.org/package/2006/metadata/core-properties"/>
    <ds:schemaRef ds:uri="http://purl.org/dc/dcmitype/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2C7543E-3AE6-456F-BFDA-92BC299529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9128AD-D8AC-4A26-9A9B-55DC53FEBA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51e2e4-0a1a-4697-96a8-9d2660d743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d1d9ad-87d5-49f6-98b5-c08aeb9752b2}" enabled="0" method="" siteId="{59d1d9ad-87d5-49f6-98b5-c08aeb9752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惠生PPT模板【16比9】WisonPresentationTemplate[16-9]--202211</Template>
  <TotalTime>1102</TotalTime>
  <Words>1418</Words>
  <Application>Microsoft Office PowerPoint</Application>
  <PresentationFormat>全屏显示(16:9)</PresentationFormat>
  <Paragraphs>300</Paragraphs>
  <Slides>22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45" baseType="lpstr">
      <vt:lpstr>ABBvoice</vt:lpstr>
      <vt:lpstr>Helvetica Neue</vt:lpstr>
      <vt:lpstr>Source Sans 3</vt:lpstr>
      <vt:lpstr>Source Sans 3 SemiBold</vt:lpstr>
      <vt:lpstr>等线</vt:lpstr>
      <vt:lpstr>等线 Light</vt:lpstr>
      <vt:lpstr>Arial</vt:lpstr>
      <vt:lpstr>Calibri</vt:lpstr>
      <vt:lpstr>Cambria</vt:lpstr>
      <vt:lpstr>Cambria Math</vt:lpstr>
      <vt:lpstr>Helvetica</vt:lpstr>
      <vt:lpstr>Poppins</vt:lpstr>
      <vt:lpstr>Poppins Light</vt:lpstr>
      <vt:lpstr>Poppins SemiBold</vt:lpstr>
      <vt:lpstr>Wingdings</vt:lpstr>
      <vt:lpstr>标题页和结尾页TitleSlide&amp;EndSlide</vt:lpstr>
      <vt:lpstr>内容页BodySlides</vt:lpstr>
      <vt:lpstr>欢迎页和节标题页WelcomeSlide&amp;SectionTitleSlides</vt:lpstr>
      <vt:lpstr>1_标题页和结尾页TitleSlide&amp;EndSlide</vt:lpstr>
      <vt:lpstr>2_内容页BodySlides</vt:lpstr>
      <vt:lpstr>7_Office 主题​​</vt:lpstr>
      <vt:lpstr>2_Baker Hughes Template 2023</vt:lpstr>
      <vt:lpstr>think-cell Slide</vt:lpstr>
      <vt:lpstr>Wison Generation 2e FLNG</vt:lpstr>
      <vt:lpstr>From One Generation to the Next</vt:lpstr>
      <vt:lpstr>Wison’s Product Strategy for the FLNG</vt:lpstr>
      <vt:lpstr>Wison Generation 2 FLNG - 2024</vt:lpstr>
      <vt:lpstr>Emission Target</vt:lpstr>
      <vt:lpstr>Low carbon solutions investigated</vt:lpstr>
      <vt:lpstr>Wison Generation 1 and 2 FLNG compared</vt:lpstr>
      <vt:lpstr>Wison Generation 2 FLNG - highlights</vt:lpstr>
      <vt:lpstr>Wison Generation 2 FLNG – GT driven MR Compressors</vt:lpstr>
      <vt:lpstr>Wison Generation 2 e-FLNG - 2025</vt:lpstr>
      <vt:lpstr>Wison Generation 2 eFLNG – with CCGT and e-Drive  for MR Compressors</vt:lpstr>
      <vt:lpstr>E-FLNG Power &amp; Heat Supply Architecture</vt:lpstr>
      <vt:lpstr>Wison Generation 2 eFLNG – with CCGT and e-Drive for  MR Compressors</vt:lpstr>
      <vt:lpstr>Generation 2 e-FLNG - System reliability is key</vt:lpstr>
      <vt:lpstr>The e-drive and MR compressors</vt:lpstr>
      <vt:lpstr>The E-house of Generation 2 e-FLNG</vt:lpstr>
      <vt:lpstr>The 70MW synchronous motor - marinisation</vt:lpstr>
      <vt:lpstr>The motor-compressor skid for Generation 2 e-FLNG</vt:lpstr>
      <vt:lpstr>The studies carried out towards TRL3 (Ready for FEED)</vt:lpstr>
      <vt:lpstr>Conclusion Generation 2 e-FLNG</vt:lpstr>
      <vt:lpstr>Conclusions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欢迎XXX领导莅临惠生</dc:title>
  <dc:creator>吕艳雯</dc:creator>
  <cp:lastModifiedBy>Ranpu_tat</cp:lastModifiedBy>
  <cp:revision>204</cp:revision>
  <cp:lastPrinted>2018-03-12T05:50:23Z</cp:lastPrinted>
  <dcterms:created xsi:type="dcterms:W3CDTF">2023-12-28T09:04:40Z</dcterms:created>
  <dcterms:modified xsi:type="dcterms:W3CDTF">2025-10-07T02:46:11Z</dcterms:modified>
  <cp:version>201909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5AAA9BCEB8A44BB454FAD23BE158DD</vt:lpwstr>
  </property>
</Properties>
</file>